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tags/tag121.xml" ContentType="application/vnd.openxmlformats-officedocument.presentationml.tags+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tags/tag122.xml" ContentType="application/vnd.openxmlformats-officedocument.presentationml.tags+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tags/tag123.xml" ContentType="application/vnd.openxmlformats-officedocument.presentationml.tags+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24.xml" ContentType="application/vnd.openxmlformats-officedocument.presentationml.tags+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tags/tag125.xml" ContentType="application/vnd.openxmlformats-officedocument.presentationml.tags+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tags/tag126.xml" ContentType="application/vnd.openxmlformats-officedocument.presentationml.tags+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tags/tag127.xml" ContentType="application/vnd.openxmlformats-officedocument.presentationml.tags+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tags/tag128.xml" ContentType="application/vnd.openxmlformats-officedocument.presentationml.tags+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tags/tag129.xml" ContentType="application/vnd.openxmlformats-officedocument.presentationml.tags+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tags/tag130.xml" ContentType="application/vnd.openxmlformats-officedocument.presentationml.tags+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tags/tag131.xml" ContentType="application/vnd.openxmlformats-officedocument.presentationml.tags+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132.xml" ContentType="application/vnd.openxmlformats-officedocument.presentationml.tags+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tags/tag133.xml" ContentType="application/vnd.openxmlformats-officedocument.presentationml.tags+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tags/tag134.xml" ContentType="application/vnd.openxmlformats-officedocument.presentationml.tags+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tags/tag135.xml" ContentType="application/vnd.openxmlformats-officedocument.presentationml.tags+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tags/tag136.xml" ContentType="application/vnd.openxmlformats-officedocument.presentationml.tags+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1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 id="2147475272" r:id="rId104"/>
    <p:sldId id="2147475273" r:id="rId105"/>
    <p:sldId id="2147475274" r:id="rId106"/>
    <p:sldId id="2147475275" r:id="rId107"/>
    <p:sldId id="2147475276" r:id="rId108"/>
    <p:sldId id="2147475277" r:id="rId109"/>
    <p:sldId id="2147475278" r:id="rId110"/>
    <p:sldId id="2147475279" r:id="rId111"/>
    <p:sldId id="2147475280" r:id="rId112"/>
    <p:sldId id="2147475281" r:id="rId11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Portion Count Bracket" id="{DD0BD9A2-A854-4D9B-901F-01CF15071576}">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7" d="100"/>
          <a:sy n="57" d="100"/>
        </p:scale>
        <p:origin x="67" y="13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theme" Target="theme/theme1.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tableStyles" Target="tableStyle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notesMaster" Target="notesMasters/notesMaster1.xml"/><Relationship Id="rId119"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4052</c:v>
                </c:pt>
                <c:pt idx="3">
                  <c:v>4.6899999999999997E-2</c:v>
                </c:pt>
                <c:pt idx="4">
                  <c:v>0.44169999999999998</c:v>
                </c:pt>
                <c:pt idx="5">
                  <c:v>0.104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85770000000000002</c:v>
                </c:pt>
                <c:pt idx="3">
                  <c:v>8.5400000000000004E-2</c:v>
                </c:pt>
                <c:pt idx="4">
                  <c:v>4.90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53790000000000004</c:v>
                </c:pt>
                <c:pt idx="4">
                  <c:v>0.30059999999999998</c:v>
                </c:pt>
                <c:pt idx="5">
                  <c:v>0.161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5959478656639862E-3</c:v>
                </c:pt>
                <c:pt idx="1">
                  <c:v>1.8746127234617122E-2</c:v>
                </c:pt>
                <c:pt idx="2">
                  <c:v>0.53498515835298865</c:v>
                </c:pt>
                <c:pt idx="3">
                  <c:v>2.4684841426950318E-2</c:v>
                </c:pt>
                <c:pt idx="4">
                  <c:v>0.274629045673908</c:v>
                </c:pt>
                <c:pt idx="5">
                  <c:v>0.13102759644639816</c:v>
                </c:pt>
                <c:pt idx="6">
                  <c:v>1.033128299947385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1.2210895634882656E-2</c:v>
                </c:pt>
                <c:pt idx="4">
                  <c:v>6.8231942733127755E-3</c:v>
                </c:pt>
                <c:pt idx="5">
                  <c:v>3.667940426361406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ev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1.942964009412091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4.4744160823914147E-5</c:v>
                </c:pt>
                <c:pt idx="2">
                  <c:v>2.9095347634191603E-2</c:v>
                </c:pt>
                <c:pt idx="3">
                  <c:v>3.5808420754381001E-3</c:v>
                </c:pt>
                <c:pt idx="4">
                  <c:v>3.3699404581862644E-2</c:v>
                </c:pt>
                <c:pt idx="5">
                  <c:v>7.8299239778593533E-3</c:v>
                </c:pt>
                <c:pt idx="6">
                  <c:v>7.8293059377721833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rbaso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5.1268140211087755E-4</c:v>
                </c:pt>
                <c:pt idx="1">
                  <c:v>6.5972446419050232E-4</c:v>
                </c:pt>
                <c:pt idx="4">
                  <c:v>5.192455702827770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2.0274581788581507E-3</c:v>
                </c:pt>
                <c:pt idx="1">
                  <c:v>1.8073035631159091E-2</c:v>
                </c:pt>
                <c:pt idx="2">
                  <c:v>0.49341194829991519</c:v>
                </c:pt>
                <c:pt idx="3">
                  <c:v>2.0793473361034247E-2</c:v>
                </c:pt>
                <c:pt idx="4">
                  <c:v>0.23324899094504098</c:v>
                </c:pt>
                <c:pt idx="5">
                  <c:v>0.11922644844606123</c:v>
                </c:pt>
                <c:pt idx="6">
                  <c:v>9.04795673449134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9300000000000001E-2</c:v>
                </c:pt>
                <c:pt idx="2">
                  <c:v>0.9807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5959478656639862E-3</c:v>
                </c:pt>
                <c:pt idx="1">
                  <c:v>1.8746127234617122E-2</c:v>
                </c:pt>
                <c:pt idx="2">
                  <c:v>0.53498515835298865</c:v>
                </c:pt>
                <c:pt idx="3">
                  <c:v>2.4684841426950318E-2</c:v>
                </c:pt>
                <c:pt idx="4">
                  <c:v>0.274629045673908</c:v>
                </c:pt>
                <c:pt idx="5">
                  <c:v>0.13102759644639816</c:v>
                </c:pt>
                <c:pt idx="6">
                  <c:v>1.033128299947385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2.2318042351979392E-5</c:v>
                </c:pt>
                <c:pt idx="2">
                  <c:v>1.136979549639844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ev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1.942964009412091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4.4744160823914147E-5</c:v>
                </c:pt>
                <c:pt idx="2">
                  <c:v>2.9095347634191603E-2</c:v>
                </c:pt>
                <c:pt idx="3">
                  <c:v>3.5808420754381001E-3</c:v>
                </c:pt>
                <c:pt idx="4">
                  <c:v>3.3699404581862644E-2</c:v>
                </c:pt>
                <c:pt idx="5">
                  <c:v>7.8299239778593533E-3</c:v>
                </c:pt>
                <c:pt idx="6">
                  <c:v>7.8293059377721833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rbaso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5.1268140211087755E-4</c:v>
                </c:pt>
                <c:pt idx="1">
                  <c:v>6.5972446419050232E-4</c:v>
                </c:pt>
                <c:pt idx="4">
                  <c:v>5.192455702827770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2.0051401365061713E-3</c:v>
                </c:pt>
                <c:pt idx="1">
                  <c:v>1.8073035631159091E-2</c:v>
                </c:pt>
                <c:pt idx="2">
                  <c:v>0.50448586438515797</c:v>
                </c:pt>
                <c:pt idx="3">
                  <c:v>2.0793473361034247E-2</c:v>
                </c:pt>
                <c:pt idx="4">
                  <c:v>0.24007218521835377</c:v>
                </c:pt>
                <c:pt idx="5">
                  <c:v>0.12289438887242263</c:v>
                </c:pt>
                <c:pt idx="6">
                  <c:v>9.04795673449134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53765925906680334</c:v>
                </c:pt>
                <c:pt idx="4">
                  <c:v>0.27513448053097156</c:v>
                </c:pt>
                <c:pt idx="5">
                  <c:v>0.1872005831369553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9.741391394088930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remo</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2.4708912891628213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1.6740833898208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illet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0.51485254406685865</c:v>
                </c:pt>
                <c:pt idx="4">
                  <c:v>0.17681526177159468</c:v>
                </c:pt>
                <c:pt idx="5">
                  <c:v>0.1866571110110964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6.0658811017358831E-3</c:v>
                </c:pt>
                <c:pt idx="4">
                  <c:v>6.4103514445367632E-4</c:v>
                </c:pt>
                <c:pt idx="5">
                  <c:v>5.424226168497299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7851348090472545E-3</c:v>
                </c:pt>
                <c:pt idx="1">
                  <c:v>2.5716475552204857E-2</c:v>
                </c:pt>
                <c:pt idx="2">
                  <c:v>0.71769765648946982</c:v>
                </c:pt>
                <c:pt idx="3">
                  <c:v>1.609888306114424E-2</c:v>
                </c:pt>
                <c:pt idx="4">
                  <c:v>0.18525909589161116</c:v>
                </c:pt>
                <c:pt idx="5">
                  <c:v>4.690028860231131E-2</c:v>
                </c:pt>
                <c:pt idx="6">
                  <c:v>1.5424655942113789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53765925906680334</c:v>
                </c:pt>
                <c:pt idx="4">
                  <c:v>0.27513448053097156</c:v>
                </c:pt>
                <c:pt idx="5">
                  <c:v>0.1872005831369553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2.4708912891628213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Harry'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1.67408338982088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51485254406685865</c:v>
                </c:pt>
                <c:pt idx="4">
                  <c:v>0.17681526177159468</c:v>
                </c:pt>
                <c:pt idx="5">
                  <c:v>0.1866571110110964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6.0658811017358831E-3</c:v>
                </c:pt>
                <c:pt idx="4">
                  <c:v>6.4103514445367632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4">
                  <c:v>9.7413913940889302E-2</c:v>
                </c:pt>
                <c:pt idx="5">
                  <c:v>5.424226168497299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53769999999999996</c:v>
                </c:pt>
                <c:pt idx="4">
                  <c:v>0.30070000000000002</c:v>
                </c:pt>
                <c:pt idx="5">
                  <c:v>0.161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0922305368754352E-3</c:v>
                </c:pt>
                <c:pt idx="1">
                  <c:v>2.5966747969915147E-2</c:v>
                </c:pt>
                <c:pt idx="2">
                  <c:v>0.53252130685582932</c:v>
                </c:pt>
                <c:pt idx="3">
                  <c:v>1.7828370856645376E-2</c:v>
                </c:pt>
                <c:pt idx="4">
                  <c:v>0.27615415397836068</c:v>
                </c:pt>
                <c:pt idx="5">
                  <c:v>0.13384544939990548</c:v>
                </c:pt>
                <c:pt idx="6">
                  <c:v>1.159174040246854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3.7995600780186135E-2</c:v>
                </c:pt>
                <c:pt idx="4">
                  <c:v>2.1247163077755666E-2</c:v>
                </c:pt>
                <c:pt idx="5">
                  <c:v>1.141556291734493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2.0902844766332762E-3</c:v>
                </c:pt>
                <c:pt idx="2">
                  <c:v>0.2749240769838307</c:v>
                </c:pt>
                <c:pt idx="4">
                  <c:v>0.19387699870056102</c:v>
                </c:pt>
                <c:pt idx="5">
                  <c:v>9.39413904955443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remo</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5.3333450151231268E-7</c:v>
                </c:pt>
                <c:pt idx="2">
                  <c:v>2.699914310652006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1">
                  <c:v>2.59667479699151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21932638777647478</c:v>
                </c:pt>
                <c:pt idx="3">
                  <c:v>1.7816621212589159E-2</c:v>
                </c:pt>
                <c:pt idx="4">
                  <c:v>6.1029941309347274E-2</c:v>
                </c:pt>
                <c:pt idx="5">
                  <c:v>2.8488239497904733E-2</c:v>
                </c:pt>
                <c:pt idx="6">
                  <c:v>1.158706456525490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42570000000000002</c:v>
                </c:pt>
                <c:pt idx="4">
                  <c:v>0.42759999999999998</c:v>
                </c:pt>
                <c:pt idx="5">
                  <c:v>0.146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0922305368754352E-3</c:v>
                </c:pt>
                <c:pt idx="1">
                  <c:v>2.5966747969915147E-2</c:v>
                </c:pt>
                <c:pt idx="2">
                  <c:v>0.53252130685582932</c:v>
                </c:pt>
                <c:pt idx="3">
                  <c:v>1.7828370856645376E-2</c:v>
                </c:pt>
                <c:pt idx="4">
                  <c:v>0.27615415397836068</c:v>
                </c:pt>
                <c:pt idx="5">
                  <c:v>0.13384544939990548</c:v>
                </c:pt>
                <c:pt idx="6">
                  <c:v>1.159174040246854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2.9158744783326997E-2</c:v>
                </c:pt>
                <c:pt idx="4">
                  <c:v>2.9288560843748535E-2</c:v>
                </c:pt>
                <c:pt idx="5">
                  <c:v>1.00503935149586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2.0902844766332762E-3</c:v>
                </c:pt>
                <c:pt idx="2">
                  <c:v>0.2749240769838307</c:v>
                </c:pt>
                <c:pt idx="4">
                  <c:v>0.19387699870056102</c:v>
                </c:pt>
                <c:pt idx="5">
                  <c:v>9.39413904955443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remo</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5.3333450151231268E-7</c:v>
                </c:pt>
                <c:pt idx="2">
                  <c:v>2.699914310652006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1">
                  <c:v>2.59667479699151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22816324377333394</c:v>
                </c:pt>
                <c:pt idx="3">
                  <c:v>1.7816621212589159E-2</c:v>
                </c:pt>
                <c:pt idx="4">
                  <c:v>5.2988543543354402E-2</c:v>
                </c:pt>
                <c:pt idx="5">
                  <c:v>2.9853408900291048E-2</c:v>
                </c:pt>
                <c:pt idx="6">
                  <c:v>1.158706456525490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E-3</c:v>
                </c:pt>
                <c:pt idx="2">
                  <c:v>0.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0922305368754352E-3</c:v>
                </c:pt>
                <c:pt idx="1">
                  <c:v>2.5966747969915147E-2</c:v>
                </c:pt>
                <c:pt idx="2">
                  <c:v>0.53252130685582932</c:v>
                </c:pt>
                <c:pt idx="3">
                  <c:v>1.7828370856645376E-2</c:v>
                </c:pt>
                <c:pt idx="4">
                  <c:v>0.27615415397836068</c:v>
                </c:pt>
                <c:pt idx="5">
                  <c:v>0.13384544939990548</c:v>
                </c:pt>
                <c:pt idx="6">
                  <c:v>1.159174040246854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4.1556336126320322E-2</c:v>
                </c:pt>
                <c:pt idx="3">
                  <c:v>4.1376195265315444E-3</c:v>
                </c:pt>
                <c:pt idx="4">
                  <c:v>2.37309571420006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Unilever</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6.8169925918683434E-4</c:v>
                </c:pt>
                <c:pt idx="1">
                  <c:v>2.4869975220115539E-2</c:v>
                </c:pt>
                <c:pt idx="3">
                  <c:v>3.125487370364802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5.3151561822050381E-3</c:v>
                </c:pt>
                <c:pt idx="2">
                  <c:v>0.46263723620139835</c:v>
                </c:pt>
                <c:pt idx="4">
                  <c:v>0.1659547303133154</c:v>
                </c:pt>
                <c:pt idx="5">
                  <c:v>3.6433188811059863E-2</c:v>
                </c:pt>
                <c:pt idx="6">
                  <c:v>6.173821151076279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6.7405246722615226E-4</c:v>
                </c:pt>
                <c:pt idx="2">
                  <c:v>1.7538933391765234E-2</c:v>
                </c:pt>
                <c:pt idx="4">
                  <c:v>3.452429079425984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1">
                  <c:v>7.7872711526896831E-4</c:v>
                </c:pt>
                <c:pt idx="2">
                  <c:v>0.19572309815456629</c:v>
                </c:pt>
                <c:pt idx="3">
                  <c:v>8.8167344971612702E-3</c:v>
                </c:pt>
                <c:pt idx="4">
                  <c:v>1.3305895762818688E-2</c:v>
                </c:pt>
                <c:pt idx="5">
                  <c:v>9.9983445134344852E-3</c:v>
                </c:pt>
                <c:pt idx="6">
                  <c:v>5.82518288268641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5.3333450151231268E-7</c:v>
                </c:pt>
                <c:pt idx="2">
                  <c:v>2.6999143106520065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2.0902844766332762E-3</c:v>
                </c:pt>
                <c:pt idx="2">
                  <c:v>0.2749240769838307</c:v>
                </c:pt>
                <c:pt idx="4">
                  <c:v>0.19387699870056102</c:v>
                </c:pt>
                <c:pt idx="5">
                  <c:v>9.39413904955443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ollar Shave Club</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1">
                  <c:v>2.596674796991514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2.9158744783326997E-2</c:v>
                </c:pt>
                <c:pt idx="4">
                  <c:v>2.9288560843748535E-2</c:v>
                </c:pt>
                <c:pt idx="5">
                  <c:v>1.00503935149586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22816324377333394</c:v>
                </c:pt>
                <c:pt idx="3">
                  <c:v>1.7816621212589159E-2</c:v>
                </c:pt>
                <c:pt idx="4">
                  <c:v>5.2988543543354402E-2</c:v>
                </c:pt>
                <c:pt idx="5">
                  <c:v>2.9853408900291048E-2</c:v>
                </c:pt>
                <c:pt idx="6">
                  <c:v>1.158706456525490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4E-3</c:v>
                </c:pt>
                <c:pt idx="2">
                  <c:v>0.85350000000000004</c:v>
                </c:pt>
                <c:pt idx="3">
                  <c:v>9.0700000000000003E-2</c:v>
                </c:pt>
                <c:pt idx="4">
                  <c:v>5.1999999999999998E-2</c:v>
                </c:pt>
                <c:pt idx="6">
                  <c:v>2.399999999999999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7851348090472536E-3</c:v>
                </c:pt>
                <c:pt idx="1">
                  <c:v>2.5716475552204854E-2</c:v>
                </c:pt>
                <c:pt idx="2">
                  <c:v>0.71769765648946982</c:v>
                </c:pt>
                <c:pt idx="3">
                  <c:v>1.609888306114424E-2</c:v>
                </c:pt>
                <c:pt idx="4">
                  <c:v>0.18525909589161116</c:v>
                </c:pt>
                <c:pt idx="5">
                  <c:v>4.690028860231131E-2</c:v>
                </c:pt>
                <c:pt idx="6">
                  <c:v>1.542465594211379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6.3783023746484524E-5</c:v>
                </c:pt>
                <c:pt idx="2">
                  <c:v>3.8957269623950429E-2</c:v>
                </c:pt>
                <c:pt idx="3">
                  <c:v>4.1376195265315444E-3</c:v>
                </c:pt>
                <c:pt idx="4">
                  <c:v>2.373095714200061E-3</c:v>
                </c:pt>
                <c:pt idx="6">
                  <c:v>1.1179471233974112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remo</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3.1867947740916289E-5</c:v>
                </c:pt>
                <c:pt idx="2">
                  <c:v>1.623493866485990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 P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6.7405246722615226E-4</c:v>
                </c:pt>
                <c:pt idx="2">
                  <c:v>8.2772627961922602E-3</c:v>
                </c:pt>
                <c:pt idx="4">
                  <c:v>3.452333898813059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6.8169925918683434E-4</c:v>
                </c:pt>
                <c:pt idx="1">
                  <c:v>2.4869975220115539E-2</c:v>
                </c:pt>
                <c:pt idx="3">
                  <c:v>3.125487370364802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5.3151561822050381E-3</c:v>
                </c:pt>
                <c:pt idx="1">
                  <c:v>7.7872711526896831E-4</c:v>
                </c:pt>
                <c:pt idx="2">
                  <c:v>0.66856831555549079</c:v>
                </c:pt>
                <c:pt idx="3">
                  <c:v>8.8167344971612702E-3</c:v>
                </c:pt>
                <c:pt idx="4">
                  <c:v>0.17926062607613408</c:v>
                </c:pt>
                <c:pt idx="5">
                  <c:v>4.6431533324494345E-2</c:v>
                </c:pt>
                <c:pt idx="6">
                  <c:v>1.199900403376269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7851348090472536E-3</c:v>
                </c:pt>
                <c:pt idx="1">
                  <c:v>2.5716475552204854E-2</c:v>
                </c:pt>
                <c:pt idx="2">
                  <c:v>0.71769765648946982</c:v>
                </c:pt>
                <c:pt idx="3">
                  <c:v>1.609888306114424E-2</c:v>
                </c:pt>
                <c:pt idx="4">
                  <c:v>0.18525909589161116</c:v>
                </c:pt>
                <c:pt idx="5">
                  <c:v>4.690028860231131E-2</c:v>
                </c:pt>
                <c:pt idx="6">
                  <c:v>1.542465594211379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9.258445543736988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chick</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6.3783023746484524E-5</c:v>
                </c:pt>
                <c:pt idx="2">
                  <c:v>3.8957269623950429E-2</c:v>
                </c:pt>
                <c:pt idx="3">
                  <c:v>4.1376195265315444E-3</c:v>
                </c:pt>
                <c:pt idx="4">
                  <c:v>2.373095714200061E-3</c:v>
                </c:pt>
                <c:pt idx="6">
                  <c:v>1.117947123397411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remo</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3.1867947740916289E-5</c:v>
                </c:pt>
                <c:pt idx="2">
                  <c:v>1.623493866485990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6.7405246722615226E-4</c:v>
                </c:pt>
                <c:pt idx="2">
                  <c:v>8.2772627961922602E-3</c:v>
                </c:pt>
                <c:pt idx="4">
                  <c:v>3.452333898813059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5.9968554413918724E-3</c:v>
                </c:pt>
                <c:pt idx="1">
                  <c:v>2.5648702335384507E-2</c:v>
                </c:pt>
                <c:pt idx="2">
                  <c:v>0.65930987001175378</c:v>
                </c:pt>
                <c:pt idx="3">
                  <c:v>1.1942221867526073E-2</c:v>
                </c:pt>
                <c:pt idx="4">
                  <c:v>0.17926062607613408</c:v>
                </c:pt>
                <c:pt idx="5">
                  <c:v>4.6431533324494345E-2</c:v>
                </c:pt>
                <c:pt idx="6">
                  <c:v>1.199900403376269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9300000000000001E-2</c:v>
                </c:pt>
                <c:pt idx="2">
                  <c:v>0.9807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7851348090472536E-3</c:v>
                </c:pt>
                <c:pt idx="1">
                  <c:v>2.5716475552204854E-2</c:v>
                </c:pt>
                <c:pt idx="2">
                  <c:v>0.71769765648946982</c:v>
                </c:pt>
                <c:pt idx="3">
                  <c:v>1.609888306114424E-2</c:v>
                </c:pt>
                <c:pt idx="4">
                  <c:v>0.18525909589161116</c:v>
                </c:pt>
                <c:pt idx="5">
                  <c:v>4.690028860231131E-2</c:v>
                </c:pt>
                <c:pt idx="6">
                  <c:v>1.542465594211379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3.1867947740916289E-5</c:v>
                </c:pt>
                <c:pt idx="2">
                  <c:v>1.623493866485990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chick</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6.3783023746484524E-5</c:v>
                </c:pt>
                <c:pt idx="2">
                  <c:v>3.8957269623950429E-2</c:v>
                </c:pt>
                <c:pt idx="3">
                  <c:v>4.1376195265315444E-3</c:v>
                </c:pt>
                <c:pt idx="4">
                  <c:v>2.373095714200061E-3</c:v>
                </c:pt>
                <c:pt idx="6">
                  <c:v>1.117947123397411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 P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6.7405246722615226E-4</c:v>
                </c:pt>
                <c:pt idx="2">
                  <c:v>8.2772627961922602E-3</c:v>
                </c:pt>
                <c:pt idx="4">
                  <c:v>3.452333898813059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6.8169925918683434E-4</c:v>
                </c:pt>
                <c:pt idx="1">
                  <c:v>2.4869975220115539E-2</c:v>
                </c:pt>
                <c:pt idx="3">
                  <c:v>3.125487370364802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5.3151561822050381E-3</c:v>
                </c:pt>
                <c:pt idx="1">
                  <c:v>7.7872711526896831E-4</c:v>
                </c:pt>
                <c:pt idx="2">
                  <c:v>0.66856831555549079</c:v>
                </c:pt>
                <c:pt idx="3">
                  <c:v>8.8167344971612702E-3</c:v>
                </c:pt>
                <c:pt idx="4">
                  <c:v>0.17926062607613408</c:v>
                </c:pt>
                <c:pt idx="5">
                  <c:v>4.6431533324494345E-2</c:v>
                </c:pt>
                <c:pt idx="6">
                  <c:v>1.199900403376269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8480000000000001</c:v>
                </c:pt>
                <c:pt idx="4">
                  <c:v>1.51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71871978033715611</c:v>
                </c:pt>
                <c:pt idx="4">
                  <c:v>0.21327812936382098</c:v>
                </c:pt>
                <c:pt idx="5">
                  <c:v>6.799557654971592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3.3406707423296635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Harry'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2.263378168486538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69608599865229071</c:v>
                </c:pt>
                <c:pt idx="4">
                  <c:v>0.21292083401375758</c:v>
                </c:pt>
                <c:pt idx="5">
                  <c:v>6.79941576026113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8470000000000002</c:v>
                </c:pt>
                <c:pt idx="4">
                  <c:v>1.5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1194084655157147E-3</c:v>
                </c:pt>
                <c:pt idx="1">
                  <c:v>3.8717124116594497E-2</c:v>
                </c:pt>
                <c:pt idx="2">
                  <c:v>0.73083096041736195</c:v>
                </c:pt>
                <c:pt idx="3">
                  <c:v>1.3285230524580621E-2</c:v>
                </c:pt>
                <c:pt idx="4">
                  <c:v>0.17689312244175995</c:v>
                </c:pt>
                <c:pt idx="5">
                  <c:v>3.714718223433152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4.3476462593616746E-2</c:v>
                </c:pt>
                <c:pt idx="3">
                  <c:v>2.4251058270351755E-6</c:v>
                </c:pt>
                <c:pt idx="4">
                  <c:v>6.733386760933899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3.1166100330094234E-3</c:v>
                </c:pt>
                <c:pt idx="2">
                  <c:v>0.39861988046881019</c:v>
                </c:pt>
                <c:pt idx="4">
                  <c:v>0.15560291502940912</c:v>
                </c:pt>
                <c:pt idx="5">
                  <c:v>1.928235940567339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remo</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7.9521617857724157E-7</c:v>
                </c:pt>
                <c:pt idx="2">
                  <c:v>4.025645321115850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1">
                  <c:v>3.87171241165944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28832422510326411</c:v>
                </c:pt>
                <c:pt idx="3">
                  <c:v>1.3268063567687366E-2</c:v>
                </c:pt>
                <c:pt idx="4">
                  <c:v>2.0616553077927015E-2</c:v>
                </c:pt>
                <c:pt idx="5">
                  <c:v>1.786446164268388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1194084655157147E-3</c:v>
                </c:pt>
                <c:pt idx="1">
                  <c:v>3.8717124116594497E-2</c:v>
                </c:pt>
                <c:pt idx="2">
                  <c:v>0.73083096041736195</c:v>
                </c:pt>
                <c:pt idx="3">
                  <c:v>1.3285230524580621E-2</c:v>
                </c:pt>
                <c:pt idx="4">
                  <c:v>0.17689312244175995</c:v>
                </c:pt>
                <c:pt idx="5">
                  <c:v>3.714718223433152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3.008753527231440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3.1166100330094234E-3</c:v>
                </c:pt>
                <c:pt idx="2">
                  <c:v>0.39861988046881019</c:v>
                </c:pt>
                <c:pt idx="4">
                  <c:v>0.15560291502940912</c:v>
                </c:pt>
                <c:pt idx="5">
                  <c:v>1.928235940567339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remo</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7.9521617857724157E-7</c:v>
                </c:pt>
                <c:pt idx="2">
                  <c:v>4.025645321115850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1">
                  <c:v>3.871712411659449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30171315242456648</c:v>
                </c:pt>
                <c:pt idx="3">
                  <c:v>1.3270488673514401E-2</c:v>
                </c:pt>
                <c:pt idx="4">
                  <c:v>2.1289891754020403E-2</c:v>
                </c:pt>
                <c:pt idx="5">
                  <c:v>1.786446164268388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E-3</c:v>
                </c:pt>
                <c:pt idx="2">
                  <c:v>0.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1194084655157147E-3</c:v>
                </c:pt>
                <c:pt idx="1">
                  <c:v>3.8717124116594497E-2</c:v>
                </c:pt>
                <c:pt idx="2">
                  <c:v>0.73083096041736195</c:v>
                </c:pt>
                <c:pt idx="3">
                  <c:v>1.3285230524580621E-2</c:v>
                </c:pt>
                <c:pt idx="4">
                  <c:v>0.17689312244175995</c:v>
                </c:pt>
                <c:pt idx="5">
                  <c:v>3.714718223433152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1194084655157147E-3</c:v>
                </c:pt>
                <c:pt idx="1">
                  <c:v>3.8717124116594497E-2</c:v>
                </c:pt>
                <c:pt idx="2">
                  <c:v>0.73083096041736195</c:v>
                </c:pt>
                <c:pt idx="3">
                  <c:v>1.3285230524580621E-2</c:v>
                </c:pt>
                <c:pt idx="4">
                  <c:v>0.17689312244175995</c:v>
                </c:pt>
                <c:pt idx="5">
                  <c:v>3.714718223433152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7.9521617857724157E-7</c:v>
                </c:pt>
                <c:pt idx="2">
                  <c:v>4.0256453211158505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3.1166100330094234E-3</c:v>
                </c:pt>
                <c:pt idx="2">
                  <c:v>0.39861988046881019</c:v>
                </c:pt>
                <c:pt idx="4">
                  <c:v>0.15560291502940912</c:v>
                </c:pt>
                <c:pt idx="5">
                  <c:v>1.928235940567339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ollar Shave Club</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1">
                  <c:v>3.871712411659449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0.209564433450145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12223625424673515</c:v>
                </c:pt>
                <c:pt idx="3">
                  <c:v>1.3270488673514401E-2</c:v>
                </c:pt>
                <c:pt idx="4">
                  <c:v>2.1289891754020403E-2</c:v>
                </c:pt>
                <c:pt idx="5">
                  <c:v>1.786446164268388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2799999999999998E-2</c:v>
                </c:pt>
                <c:pt idx="3">
                  <c:v>1.61E-2</c:v>
                </c:pt>
                <c:pt idx="4">
                  <c:v>0.75629999999999997</c:v>
                </c:pt>
                <c:pt idx="5">
                  <c:v>0.184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168287554794658E-3</c:v>
                </c:pt>
                <c:pt idx="1">
                  <c:v>2.45648638223913E-3</c:v>
                </c:pt>
                <c:pt idx="2">
                  <c:v>0.10798770596253249</c:v>
                </c:pt>
                <c:pt idx="3">
                  <c:v>4.4750148321233932E-2</c:v>
                </c:pt>
                <c:pt idx="4">
                  <c:v>0.48348580843787992</c:v>
                </c:pt>
                <c:pt idx="5">
                  <c:v>0.3276323525099919</c:v>
                </c:pt>
                <c:pt idx="6">
                  <c:v>3.08706696306431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6.0481253136094393E-3</c:v>
                </c:pt>
                <c:pt idx="3">
                  <c:v>2.2796582177921632E-3</c:v>
                </c:pt>
                <c:pt idx="4">
                  <c:v>0.10690870452420585</c:v>
                </c:pt>
                <c:pt idx="5">
                  <c:v>2.612838535875237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arbaso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1.7104395864031108E-3</c:v>
                </c:pt>
                <c:pt idx="1">
                  <c:v>2.049009124016692E-3</c:v>
                </c:pt>
                <c:pt idx="4">
                  <c:v>1.732717762590930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6.403183206709062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1.5781483381563592E-3</c:v>
                </c:pt>
                <c:pt idx="3">
                  <c:v>9.9106786155118997E-4</c:v>
                </c:pt>
                <c:pt idx="4">
                  <c:v>6.4194599238404692E-3</c:v>
                </c:pt>
                <c:pt idx="5">
                  <c:v>7.664325364099008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10010462644401848</c:v>
                </c:pt>
                <c:pt idx="3">
                  <c:v>4.1478767890651247E-2</c:v>
                </c:pt>
                <c:pt idx="4">
                  <c:v>0.36770049245847997</c:v>
                </c:pt>
                <c:pt idx="5">
                  <c:v>0.29358043663251476</c:v>
                </c:pt>
                <c:pt idx="6">
                  <c:v>3.019294962972822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5310000000000002</c:v>
                </c:pt>
                <c:pt idx="4">
                  <c:v>0.42070000000000002</c:v>
                </c:pt>
                <c:pt idx="5">
                  <c:v>0.2262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168287554794658E-3</c:v>
                </c:pt>
                <c:pt idx="1">
                  <c:v>2.45648638223913E-3</c:v>
                </c:pt>
                <c:pt idx="2">
                  <c:v>0.10798770596253249</c:v>
                </c:pt>
                <c:pt idx="3">
                  <c:v>4.4750148321233932E-2</c:v>
                </c:pt>
                <c:pt idx="4">
                  <c:v>0.48348580843787992</c:v>
                </c:pt>
                <c:pt idx="5">
                  <c:v>0.3276323525099919</c:v>
                </c:pt>
                <c:pt idx="6">
                  <c:v>3.08706696306431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1.9110744742563676E-2</c:v>
                </c:pt>
                <c:pt idx="4">
                  <c:v>2.276871502151143E-2</c:v>
                </c:pt>
                <c:pt idx="5">
                  <c:v>1.223988396361398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arbaso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1.7104395864031108E-3</c:v>
                </c:pt>
                <c:pt idx="1">
                  <c:v>2.049009124016692E-3</c:v>
                </c:pt>
                <c:pt idx="4">
                  <c:v>1.732717762590930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6.403183206709062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1.5781483381563592E-3</c:v>
                </c:pt>
                <c:pt idx="3">
                  <c:v>9.9106786155118997E-4</c:v>
                </c:pt>
                <c:pt idx="4">
                  <c:v>6.4194599238404692E-3</c:v>
                </c:pt>
                <c:pt idx="5">
                  <c:v>7.664325364099008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8.7042007015064232E-2</c:v>
                </c:pt>
                <c:pt idx="3">
                  <c:v>4.375842610844341E-2</c:v>
                </c:pt>
                <c:pt idx="4">
                  <c:v>0.45184048196117438</c:v>
                </c:pt>
                <c:pt idx="5">
                  <c:v>0.30746893802765313</c:v>
                </c:pt>
                <c:pt idx="6">
                  <c:v>3.019294962972822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2.3297988299491822E-2</c:v>
                </c:pt>
                <c:pt idx="4">
                  <c:v>0.45085755460661409</c:v>
                </c:pt>
                <c:pt idx="5">
                  <c:v>0.5258411561334606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4.3879115145839705E-2</c:v>
                </c:pt>
                <c:pt idx="4">
                  <c:v>6.733386760933899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3.1166161033619319E-3</c:v>
                </c:pt>
                <c:pt idx="2">
                  <c:v>0.39861988046881019</c:v>
                </c:pt>
                <c:pt idx="4">
                  <c:v>0.15560291502940912</c:v>
                </c:pt>
                <c:pt idx="5">
                  <c:v>1.928235940567339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lever</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1">
                  <c:v>3.871712411659449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0.209564433450145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7.8759806828999676E-2</c:v>
                </c:pt>
                <c:pt idx="3">
                  <c:v>1.3268063567687366E-2</c:v>
                </c:pt>
                <c:pt idx="4">
                  <c:v>2.0616553077927015E-2</c:v>
                </c:pt>
                <c:pt idx="5">
                  <c:v>1.786446164268388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0.3741498043133523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2.3297988299491822E-2</c:v>
                </c:pt>
                <c:pt idx="4">
                  <c:v>2.462103863323479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7.4245646429938292E-2</c:v>
                </c:pt>
                <c:pt idx="5">
                  <c:v>0.523757805739875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5">
                  <c:v>2.083350393585573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74150000000000005</c:v>
                </c:pt>
                <c:pt idx="5">
                  <c:v>0.2584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12865425738257888</c:v>
                </c:pt>
                <c:pt idx="3">
                  <c:v>2.7080692406814381E-2</c:v>
                </c:pt>
                <c:pt idx="4">
                  <c:v>0.478303969755833</c:v>
                </c:pt>
                <c:pt idx="5">
                  <c:v>0.33077607354230898</c:v>
                </c:pt>
                <c:pt idx="6">
                  <c:v>3.518467312329481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8.7564822938506037E-2</c:v>
                </c:pt>
                <c:pt idx="5">
                  <c:v>3.051849832999715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5.1541788864924339E-2</c:v>
                </c:pt>
                <c:pt idx="3">
                  <c:v>2.7079975378227327E-2</c:v>
                </c:pt>
                <c:pt idx="4">
                  <c:v>5.1126029728771699E-2</c:v>
                </c:pt>
                <c:pt idx="5">
                  <c:v>1.9605570486302262E-2</c:v>
                </c:pt>
                <c:pt idx="6">
                  <c:v>3.51846731232948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qua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5.4100752629056399E-2</c:v>
                </c:pt>
                <c:pt idx="4">
                  <c:v>6.4517385427454679E-2</c:v>
                </c:pt>
                <c:pt idx="5">
                  <c:v>3.466390020554366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illet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2.3011684982193522E-2</c:v>
                </c:pt>
                <c:pt idx="4">
                  <c:v>0.27182399203119151</c:v>
                </c:pt>
                <c:pt idx="5">
                  <c:v>0.2459880612514994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4">
                  <c:v>3.271591279167007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35289999999999999</c:v>
                </c:pt>
                <c:pt idx="4">
                  <c:v>0.4209</c:v>
                </c:pt>
                <c:pt idx="5">
                  <c:v>0.226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12865425738257888</c:v>
                </c:pt>
                <c:pt idx="3">
                  <c:v>2.7080692406814381E-2</c:v>
                </c:pt>
                <c:pt idx="4">
                  <c:v>0.478303969755833</c:v>
                </c:pt>
                <c:pt idx="5">
                  <c:v>0.33077607354230898</c:v>
                </c:pt>
                <c:pt idx="6">
                  <c:v>3.518467312329481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5.4100752629056399E-2</c:v>
                </c:pt>
                <c:pt idx="4">
                  <c:v>6.4517385427454679E-2</c:v>
                </c:pt>
                <c:pt idx="5">
                  <c:v>3.466390020554366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5.1541788864924339E-2</c:v>
                </c:pt>
                <c:pt idx="3">
                  <c:v>2.7079975378227327E-2</c:v>
                </c:pt>
                <c:pt idx="4">
                  <c:v>5.1126029728771699E-2</c:v>
                </c:pt>
                <c:pt idx="5">
                  <c:v>1.9605570486302262E-2</c:v>
                </c:pt>
                <c:pt idx="6">
                  <c:v>3.51846731232948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2.3011684982193522E-2</c:v>
                </c:pt>
                <c:pt idx="4">
                  <c:v>0.27182399203119151</c:v>
                </c:pt>
                <c:pt idx="5">
                  <c:v>0.2459880612514994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8.7564822938506037E-2</c:v>
                </c:pt>
                <c:pt idx="5">
                  <c:v>3.051849832999715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4">
                  <c:v>3.271591279167007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3999999999999998E-3</c:v>
                </c:pt>
                <c:pt idx="2">
                  <c:v>0.81930000000000003</c:v>
                </c:pt>
                <c:pt idx="3">
                  <c:v>0.1192</c:v>
                </c:pt>
                <c:pt idx="4">
                  <c:v>5.80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54324054360541E-2</c:v>
                </c:pt>
                <c:pt idx="1">
                  <c:v>3.5491110457881898E-2</c:v>
                </c:pt>
                <c:pt idx="2">
                  <c:v>0.75623911846922387</c:v>
                </c:pt>
                <c:pt idx="3">
                  <c:v>1.170084378965275E-2</c:v>
                </c:pt>
                <c:pt idx="4">
                  <c:v>0.14190534289662096</c:v>
                </c:pt>
                <c:pt idx="5">
                  <c:v>3.5622607384005425E-2</c:v>
                </c:pt>
                <c:pt idx="6">
                  <c:v>3.886652948254563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2.0660381807435742E-4</c:v>
                </c:pt>
                <c:pt idx="2">
                  <c:v>5.0275961404959241E-2</c:v>
                </c:pt>
                <c:pt idx="3">
                  <c:v>7.3128227043476853E-3</c:v>
                </c:pt>
                <c:pt idx="4">
                  <c:v>3.565655694436356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9.1157532889459738E-3</c:v>
                </c:pt>
                <c:pt idx="2">
                  <c:v>0.48819383385048642</c:v>
                </c:pt>
                <c:pt idx="4">
                  <c:v>0.13510829189875098</c:v>
                </c:pt>
                <c:pt idx="5">
                  <c:v>1.775568591903371E-2</c:v>
                </c:pt>
                <c:pt idx="6">
                  <c:v>1.999761407207181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3.462439093322842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2.2081372354853844E-3</c:v>
                </c:pt>
                <c:pt idx="1">
                  <c:v>3.4506465450118803E-2</c:v>
                </c:pt>
                <c:pt idx="3">
                  <c:v>4.3263748857304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1.0322558089495226E-4</c:v>
                </c:pt>
                <c:pt idx="1">
                  <c:v>8.5969134904768148E-4</c:v>
                </c:pt>
                <c:pt idx="2">
                  <c:v>0.21770509083714926</c:v>
                </c:pt>
                <c:pt idx="4">
                  <c:v>2.8226446321388383E-3</c:v>
                </c:pt>
                <c:pt idx="5">
                  <c:v>1.7489252810495737E-2</c:v>
                </c:pt>
                <c:pt idx="6">
                  <c:v>1.886873581484504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2799999999999998E-2</c:v>
                </c:pt>
                <c:pt idx="3">
                  <c:v>1.61E-2</c:v>
                </c:pt>
                <c:pt idx="4">
                  <c:v>0.75629999999999997</c:v>
                </c:pt>
                <c:pt idx="5">
                  <c:v>0.184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54324054360541E-2</c:v>
                </c:pt>
                <c:pt idx="1">
                  <c:v>3.5491110457881898E-2</c:v>
                </c:pt>
                <c:pt idx="2">
                  <c:v>0.75623911846922387</c:v>
                </c:pt>
                <c:pt idx="3">
                  <c:v>1.170084378965275E-2</c:v>
                </c:pt>
                <c:pt idx="4">
                  <c:v>0.14190534289662096</c:v>
                </c:pt>
                <c:pt idx="5">
                  <c:v>3.5622607384005425E-2</c:v>
                </c:pt>
                <c:pt idx="6">
                  <c:v>3.886652948254563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7.184037672218551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9.1157532889459738E-3</c:v>
                </c:pt>
                <c:pt idx="2">
                  <c:v>0.48819383385048642</c:v>
                </c:pt>
                <c:pt idx="4">
                  <c:v>0.13510829189875098</c:v>
                </c:pt>
                <c:pt idx="5">
                  <c:v>1.775568591903371E-2</c:v>
                </c:pt>
                <c:pt idx="6">
                  <c:v>1.999761407207181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3.462439093322842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2.2081372354853844E-3</c:v>
                </c:pt>
                <c:pt idx="1">
                  <c:v>3.4506465450118803E-2</c:v>
                </c:pt>
                <c:pt idx="3">
                  <c:v>4.3263748857304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3.098293989693097E-4</c:v>
                </c:pt>
                <c:pt idx="1">
                  <c:v>8.5969134904768148E-4</c:v>
                </c:pt>
                <c:pt idx="2">
                  <c:v>0.26079701456988996</c:v>
                </c:pt>
                <c:pt idx="3">
                  <c:v>7.3128227043476853E-3</c:v>
                </c:pt>
                <c:pt idx="4">
                  <c:v>6.3883003265751952E-3</c:v>
                </c:pt>
                <c:pt idx="5">
                  <c:v>1.7489252810495737E-2</c:v>
                </c:pt>
                <c:pt idx="6">
                  <c:v>1.886873581484504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9200000000000001E-2</c:v>
                </c:pt>
                <c:pt idx="2">
                  <c:v>0.9507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54324054360541E-2</c:v>
                </c:pt>
                <c:pt idx="1">
                  <c:v>3.5491110457881898E-2</c:v>
                </c:pt>
                <c:pt idx="2">
                  <c:v>0.75623911846922387</c:v>
                </c:pt>
                <c:pt idx="3">
                  <c:v>1.170084378965275E-2</c:v>
                </c:pt>
                <c:pt idx="4">
                  <c:v>0.14190534289662096</c:v>
                </c:pt>
                <c:pt idx="5">
                  <c:v>3.5622607384005425E-2</c:v>
                </c:pt>
                <c:pt idx="6">
                  <c:v>3.886652948254563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1.0322558089495226E-4</c:v>
                </c:pt>
                <c:pt idx="2">
                  <c:v>1.99501708934722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9.1157532889459738E-3</c:v>
                </c:pt>
                <c:pt idx="2">
                  <c:v>0.48819383385048642</c:v>
                </c:pt>
                <c:pt idx="4">
                  <c:v>0.13510829189875098</c:v>
                </c:pt>
                <c:pt idx="5">
                  <c:v>1.775568591903371E-2</c:v>
                </c:pt>
                <c:pt idx="6">
                  <c:v>1.999761407207181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3.462439093322842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2.2081372354853844E-3</c:v>
                </c:pt>
                <c:pt idx="1">
                  <c:v>3.4506465450118803E-2</c:v>
                </c:pt>
                <c:pt idx="3">
                  <c:v>4.3263748857304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2.0660381807435742E-4</c:v>
                </c:pt>
                <c:pt idx="1">
                  <c:v>8.5969134904768148E-4</c:v>
                </c:pt>
                <c:pt idx="2">
                  <c:v>0.26598603515276126</c:v>
                </c:pt>
                <c:pt idx="3">
                  <c:v>7.3128227043476853E-3</c:v>
                </c:pt>
                <c:pt idx="4">
                  <c:v>6.3883003265751952E-3</c:v>
                </c:pt>
                <c:pt idx="5">
                  <c:v>1.7489252810495737E-2</c:v>
                </c:pt>
                <c:pt idx="6">
                  <c:v>1.886873581484504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9820023958182924</c:v>
                </c:pt>
                <c:pt idx="4">
                  <c:v>1.768200193786398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1.649739001910111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0.8864267806380672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1117734589437620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1.76444827899944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7870000000000001</c:v>
                </c:pt>
                <c:pt idx="4">
                  <c:v>2.1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168287554794654E-3</c:v>
                </c:pt>
                <c:pt idx="1">
                  <c:v>2.45648638223913E-3</c:v>
                </c:pt>
                <c:pt idx="2">
                  <c:v>0.1079877059625325</c:v>
                </c:pt>
                <c:pt idx="3">
                  <c:v>4.4750148321233932E-2</c:v>
                </c:pt>
                <c:pt idx="4">
                  <c:v>0.48348580843787992</c:v>
                </c:pt>
                <c:pt idx="5">
                  <c:v>0.3276323525099919</c:v>
                </c:pt>
                <c:pt idx="6">
                  <c:v>3.08706696306431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3381458261500728E-3</c:v>
                </c:pt>
                <c:pt idx="1">
                  <c:v>4.5572293753280285E-2</c:v>
                </c:pt>
                <c:pt idx="2">
                  <c:v>0.75073120708919416</c:v>
                </c:pt>
                <c:pt idx="4">
                  <c:v>0.14947182744748397</c:v>
                </c:pt>
                <c:pt idx="5">
                  <c:v>4.48567328021593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5.0337142474387489E-2</c:v>
                </c:pt>
                <c:pt idx="4">
                  <c:v>1.09016874823299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9.32980485358831E-3</c:v>
                </c:pt>
                <c:pt idx="2">
                  <c:v>0.47575093012747294</c:v>
                </c:pt>
                <c:pt idx="4">
                  <c:v>0.14838133160228775</c:v>
                </c:pt>
                <c:pt idx="5">
                  <c:v>1.497733381593461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remo</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2.3805390100017891E-6</c:v>
                </c:pt>
                <c:pt idx="2">
                  <c:v>8.125724587918702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1">
                  <c:v>4.55722937532802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22381481594417429</c:v>
                </c:pt>
                <c:pt idx="5">
                  <c:v>2.98783177490408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3381458261500728E-3</c:v>
                </c:pt>
                <c:pt idx="1">
                  <c:v>4.5572293753280285E-2</c:v>
                </c:pt>
                <c:pt idx="2">
                  <c:v>0.75073120708919416</c:v>
                </c:pt>
                <c:pt idx="4">
                  <c:v>0.14947182744748397</c:v>
                </c:pt>
                <c:pt idx="5">
                  <c:v>4.48567328021593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2.157385284278335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9.32980485358831E-3</c:v>
                </c:pt>
                <c:pt idx="2">
                  <c:v>0.47575093012747294</c:v>
                </c:pt>
                <c:pt idx="4">
                  <c:v>0.14838133160228775</c:v>
                </c:pt>
                <c:pt idx="5">
                  <c:v>1.497733381593461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remo</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2.3805390100017891E-6</c:v>
                </c:pt>
                <c:pt idx="2">
                  <c:v>8.125724587918702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1">
                  <c:v>4.55722937532802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25257810557577842</c:v>
                </c:pt>
                <c:pt idx="4">
                  <c:v>1.090168748232995E-3</c:v>
                </c:pt>
                <c:pt idx="5">
                  <c:v>2.98783177490408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8999999999999998E-3</c:v>
                </c:pt>
                <c:pt idx="2">
                  <c:v>0.997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3381458261500728E-3</c:v>
                </c:pt>
                <c:pt idx="1">
                  <c:v>4.5572293753280285E-2</c:v>
                </c:pt>
                <c:pt idx="2">
                  <c:v>0.75073120708919416</c:v>
                </c:pt>
                <c:pt idx="4">
                  <c:v>0.14947182744748397</c:v>
                </c:pt>
                <c:pt idx="5">
                  <c:v>4.48567328021593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2.3805390100017891E-6</c:v>
                </c:pt>
                <c:pt idx="2">
                  <c:v>8.125724587918702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9.32980485358831E-3</c:v>
                </c:pt>
                <c:pt idx="2">
                  <c:v>0.47575093012747294</c:v>
                </c:pt>
                <c:pt idx="4">
                  <c:v>0.14838133160228775</c:v>
                </c:pt>
                <c:pt idx="5">
                  <c:v>1.497733381593461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ollar Shave Club</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1">
                  <c:v>4.557229375328028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5.0337142474387489E-2</c:v>
                </c:pt>
                <c:pt idx="4">
                  <c:v>1.09016874823299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22381481594417429</c:v>
                </c:pt>
                <c:pt idx="5">
                  <c:v>2.98783177490408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87819999999999998</c:v>
                </c:pt>
                <c:pt idx="3">
                  <c:v>7.0400000000000004E-2</c:v>
                </c:pt>
                <c:pt idx="4">
                  <c:v>4.7199999999999999E-2</c:v>
                </c:pt>
                <c:pt idx="6">
                  <c:v>4.1999999999999997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30008824067172E-3</c:v>
                </c:pt>
                <c:pt idx="1">
                  <c:v>2.3120851848873442E-2</c:v>
                </c:pt>
                <c:pt idx="2">
                  <c:v>0.714833563700214</c:v>
                </c:pt>
                <c:pt idx="3">
                  <c:v>5.7487970266102747E-3</c:v>
                </c:pt>
                <c:pt idx="4">
                  <c:v>0.19710342077219001</c:v>
                </c:pt>
                <c:pt idx="5">
                  <c:v>5.5356640236811465E-2</c:v>
                </c:pt>
                <c:pt idx="6">
                  <c:v>5.3663817462906195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6.0481253136094393E-3</c:v>
                </c:pt>
                <c:pt idx="3">
                  <c:v>2.2796582177921632E-3</c:v>
                </c:pt>
                <c:pt idx="4">
                  <c:v>0.10690872827953136</c:v>
                </c:pt>
                <c:pt idx="5">
                  <c:v>2.612838535875237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erio Prods In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1.7104395864031108E-3</c:v>
                </c:pt>
                <c:pt idx="1">
                  <c:v>2.049009124016692E-3</c:v>
                </c:pt>
                <c:pt idx="4">
                  <c:v>1.732717762590930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7.5331592544518929E-4</c:v>
                </c:pt>
                <c:pt idx="2">
                  <c:v>2.279784768889934E-2</c:v>
                </c:pt>
                <c:pt idx="4">
                  <c:v>0.26184480320605674</c:v>
                </c:pt>
                <c:pt idx="5">
                  <c:v>0.2523546802352536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1.5781483381563592E-3</c:v>
                </c:pt>
                <c:pt idx="3">
                  <c:v>9.9106786155118997E-4</c:v>
                </c:pt>
                <c:pt idx="4">
                  <c:v>6.4194599238404692E-3</c:v>
                </c:pt>
                <c:pt idx="5">
                  <c:v>7.664325364099008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7.7439542950301254E-2</c:v>
                </c:pt>
                <c:pt idx="3">
                  <c:v>4.1478828358752572E-2</c:v>
                </c:pt>
                <c:pt idx="4">
                  <c:v>0.10658009926586046</c:v>
                </c:pt>
                <c:pt idx="5">
                  <c:v>4.1229974047328463E-2</c:v>
                </c:pt>
                <c:pt idx="6">
                  <c:v>3.019294962972822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3.6712377903672586E-2</c:v>
                </c:pt>
                <c:pt idx="3">
                  <c:v>2.9450016758615703E-3</c:v>
                </c:pt>
                <c:pt idx="4">
                  <c:v>1.9733897695796703E-3</c:v>
                </c:pt>
                <c:pt idx="6">
                  <c:v>1.7512583683587782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bg P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1.0558996926038459E-3</c:v>
                </c:pt>
                <c:pt idx="2">
                  <c:v>6.0853503245806451E-3</c:v>
                </c:pt>
                <c:pt idx="4">
                  <c:v>2.99953606324382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2.2423399983721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1">
                  <c:v>8.0411622249706375E-4</c:v>
                </c:pt>
                <c:pt idx="2">
                  <c:v>5.48173877467943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1">
                  <c:v>2.2270998135236048E-2</c:v>
                </c:pt>
                <c:pt idx="2">
                  <c:v>0.67139753864464424</c:v>
                </c:pt>
                <c:pt idx="3">
                  <c:v>2.8037794274545363E-3</c:v>
                </c:pt>
                <c:pt idx="4">
                  <c:v>0.19211820360384071</c:v>
                </c:pt>
                <c:pt idx="5">
                  <c:v>5.485422411649461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30008824067172E-3</c:v>
                </c:pt>
                <c:pt idx="1">
                  <c:v>2.3120851848873442E-2</c:v>
                </c:pt>
                <c:pt idx="2">
                  <c:v>0.714833563700214</c:v>
                </c:pt>
                <c:pt idx="3">
                  <c:v>5.7487970266102747E-3</c:v>
                </c:pt>
                <c:pt idx="4">
                  <c:v>0.19710342077219001</c:v>
                </c:pt>
                <c:pt idx="5">
                  <c:v>5.5356640236811465E-2</c:v>
                </c:pt>
                <c:pt idx="6">
                  <c:v>5.3663817462906195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1.102903085630564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bg P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1.0558996926038459E-3</c:v>
                </c:pt>
                <c:pt idx="2">
                  <c:v>6.0853503245806451E-3</c:v>
                </c:pt>
                <c:pt idx="4">
                  <c:v>2.99953606324382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2.2423399983721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1">
                  <c:v>8.0411622249706375E-4</c:v>
                </c:pt>
                <c:pt idx="2">
                  <c:v>5.48173877467943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1">
                  <c:v>2.2270998135236048E-2</c:v>
                </c:pt>
                <c:pt idx="2">
                  <c:v>0.69708088569201121</c:v>
                </c:pt>
                <c:pt idx="3">
                  <c:v>5.7487811033161071E-3</c:v>
                </c:pt>
                <c:pt idx="4">
                  <c:v>0.19409159337342038</c:v>
                </c:pt>
                <c:pt idx="5">
                  <c:v>5.4854224116494613E-2</c:v>
                </c:pt>
                <c:pt idx="6">
                  <c:v>1.751258368358778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30008824067172E-3</c:v>
                </c:pt>
                <c:pt idx="1">
                  <c:v>2.3120851848873442E-2</c:v>
                </c:pt>
                <c:pt idx="2">
                  <c:v>0.714833563700214</c:v>
                </c:pt>
                <c:pt idx="3">
                  <c:v>5.7487970266102747E-3</c:v>
                </c:pt>
                <c:pt idx="4">
                  <c:v>0.19710342077219001</c:v>
                </c:pt>
                <c:pt idx="5">
                  <c:v>5.5356640236811465E-2</c:v>
                </c:pt>
                <c:pt idx="6">
                  <c:v>5.3663817462906195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1.578383506289428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bg P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1.0558996926038459E-3</c:v>
                </c:pt>
                <c:pt idx="2">
                  <c:v>6.0853503245806451E-3</c:v>
                </c:pt>
                <c:pt idx="4">
                  <c:v>2.99953606324382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2.2423399983721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1">
                  <c:v>8.0411622249706375E-4</c:v>
                </c:pt>
                <c:pt idx="2">
                  <c:v>5.48173877467943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1">
                  <c:v>2.2270998135236048E-2</c:v>
                </c:pt>
                <c:pt idx="2">
                  <c:v>0.70653153304202743</c:v>
                </c:pt>
                <c:pt idx="3">
                  <c:v>5.7487811033161071E-3</c:v>
                </c:pt>
                <c:pt idx="4">
                  <c:v>0.19409159337342038</c:v>
                </c:pt>
                <c:pt idx="5">
                  <c:v>5.4854224116494613E-2</c:v>
                </c:pt>
                <c:pt idx="6">
                  <c:v>1.751258368358778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8850000000000005</c:v>
                </c:pt>
                <c:pt idx="4">
                  <c:v>1.14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271017787542725E-2</c:v>
                </c:pt>
                <c:pt idx="2">
                  <c:v>0.73943162895397607</c:v>
                </c:pt>
                <c:pt idx="4">
                  <c:v>0.18228333081187198</c:v>
                </c:pt>
                <c:pt idx="5">
                  <c:v>3.79896844787450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4.5700731013600351E-2</c:v>
                </c:pt>
                <c:pt idx="3">
                  <c:v>3.3296920549390659E-6</c:v>
                </c:pt>
                <c:pt idx="4">
                  <c:v>5.262786398584626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ollar Shave Club</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1">
                  <c:v>4.027101778754272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41086647707504159</c:v>
                </c:pt>
                <c:pt idx="4">
                  <c:v>0.18175670359487653</c:v>
                </c:pt>
                <c:pt idx="5">
                  <c:v>2.447620211078856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0.2434148849315394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3.944513449710961E-2</c:v>
                </c:pt>
                <c:pt idx="5">
                  <c:v>1.35134823679564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271017787542725E-2</c:v>
                </c:pt>
                <c:pt idx="2">
                  <c:v>0.73943162895397607</c:v>
                </c:pt>
                <c:pt idx="4">
                  <c:v>0.18228333081187198</c:v>
                </c:pt>
                <c:pt idx="5">
                  <c:v>3.79896844787450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3.922036987811355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ollar Shave Club</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1">
                  <c:v>4.027101778754272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41086647707504159</c:v>
                </c:pt>
                <c:pt idx="4">
                  <c:v>0.18175670359487653</c:v>
                </c:pt>
                <c:pt idx="5">
                  <c:v>2.447620211078856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0.2434148849315394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4.5925495632596409E-2</c:v>
                </c:pt>
                <c:pt idx="3">
                  <c:v>3.3296920549390659E-6</c:v>
                </c:pt>
                <c:pt idx="4">
                  <c:v>5.2627863985846269E-4</c:v>
                </c:pt>
                <c:pt idx="5">
                  <c:v>1.35134823679564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271017787542725E-2</c:v>
                </c:pt>
                <c:pt idx="2">
                  <c:v>0.73943162895397607</c:v>
                </c:pt>
                <c:pt idx="4">
                  <c:v>0.18228333081187198</c:v>
                </c:pt>
                <c:pt idx="5">
                  <c:v>3.79896844787450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2.247646189960586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ollar Shave Club</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1">
                  <c:v>4.027101778754272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41086647707504159</c:v>
                </c:pt>
                <c:pt idx="4">
                  <c:v>0.18175670359487653</c:v>
                </c:pt>
                <c:pt idx="5">
                  <c:v>2.447620211078856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0.2434148849315394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8.4921100891713897E-2</c:v>
                </c:pt>
                <c:pt idx="3">
                  <c:v>3.3296920549390659E-6</c:v>
                </c:pt>
                <c:pt idx="4">
                  <c:v>5.2627863985846269E-4</c:v>
                </c:pt>
                <c:pt idx="5">
                  <c:v>1.35134823679564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6">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6">
                  <c:v>0.9487539471059864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6">
                  <c:v>7.189895884122025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6">
                  <c:v>0.830902092753632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6">
                  <c:v>3.985670724532117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n Der Hage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6">
                  <c:v>3.74637203816987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6">
                  <c:v>3.311640643442163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6">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595947865663988E-3</c:v>
                </c:pt>
                <c:pt idx="1">
                  <c:v>1.8746127234617126E-2</c:v>
                </c:pt>
                <c:pt idx="2">
                  <c:v>0.53498515835298865</c:v>
                </c:pt>
                <c:pt idx="3">
                  <c:v>2.4684841426950314E-2</c:v>
                </c:pt>
                <c:pt idx="4">
                  <c:v>0.274629045673908</c:v>
                </c:pt>
                <c:pt idx="5">
                  <c:v>0.13102759644639816</c:v>
                </c:pt>
                <c:pt idx="6">
                  <c:v>1.033128299947385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2.3297988299491822E-2</c:v>
                </c:pt>
                <c:pt idx="4">
                  <c:v>0.45085755460661409</c:v>
                </c:pt>
                <c:pt idx="5">
                  <c:v>0.5258411561334606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6">
                  <c:v>0.9998758590004068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6">
                  <c:v>1.2642364880774597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6">
                  <c:v>0.9994725324430299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numCache>
            </c:numRef>
          </c:val>
          <c:extLst>
            <c:ext xmlns:c16="http://schemas.microsoft.com/office/drawing/2014/chart" uri="{C3380CC4-5D6E-409C-BE32-E72D297353CC}">
              <c16:uniqueId val="{00000006-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5">
                  <c:v>5.975782346784085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5">
                  <c:v>0.771888051822068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n Der Hage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5">
                  <c:v>5.058865865894991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5">
                  <c:v>3.97387768965474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5">
                  <c:v>7.665446041241730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5">
                  <c:v>2.799364810039782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5">
                  <c:v>0.771888051822068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5">
                  <c:v>5.975782346784085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n Der Hage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5">
                  <c:v>5.058865865894991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5">
                  <c:v>8.83995892085669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0.3741498043133523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2.3297988299491822E-2</c:v>
                </c:pt>
                <c:pt idx="4">
                  <c:v>2.462103863323479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7.4245646429938292E-2</c:v>
                </c:pt>
                <c:pt idx="5">
                  <c:v>0.523757805739875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5">
                  <c:v>2.083350393585573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5">
                  <c:v>8.528913734853504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5">
                  <c:v>0.7018646574592526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n Der Hage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5">
                  <c:v>8.95160262134515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5">
                  <c:v>7.508954215492155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5">
                  <c:v>4.82387205157946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5">
                  <c:v>7.508954215492155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5">
                  <c:v>0.7018646574592526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n Der Hage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5">
                  <c:v>8.95160262134515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qua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5">
                  <c:v>8.52891373485350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5">
                  <c:v>4.82387205157946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0.1227088143541707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4">
                  <c:v>0.708920721711374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6.30861717385172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3.68113319733300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4">
                  <c:v>6.776053240722139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2.484512975155065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4">
                  <c:v>0.708920721711374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0.1227088143541707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6.30861717385172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4">
                  <c:v>7.97267346290008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74150000000000005</c:v>
                </c:pt>
                <c:pt idx="5">
                  <c:v>0.2584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0.354059272225327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4">
                  <c:v>0.6426503193288083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2.329897522173763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9.60510923690487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0.1060587372009749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4">
                  <c:v>0.702060772606567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qua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7.693950198344866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7.263648602148403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4">
                  <c:v>4.23043179038698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7.693950198344866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4">
                  <c:v>0.702060772606567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0.106058737200974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7.263648602148403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4">
                  <c:v>4.23043179038698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12865425738257888</c:v>
                </c:pt>
                <c:pt idx="3">
                  <c:v>2.7080692406814381E-2</c:v>
                </c:pt>
                <c:pt idx="4">
                  <c:v>0.478303969755833</c:v>
                </c:pt>
                <c:pt idx="5">
                  <c:v>0.33077607354230898</c:v>
                </c:pt>
                <c:pt idx="6">
                  <c:v>3.518467312329481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3">
                  <c:v>0.1450623892413836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3">
                  <c:v>0.7314907416644043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ollar Shave Club</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3">
                  <c:v>8.867259284388735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3">
                  <c:v>2.219465359417321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3">
                  <c:v>1.257167890628983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3">
                  <c:v>7.340758947959131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3">
                  <c:v>0.7314907416644043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3">
                  <c:v>0.1450623892413836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3">
                  <c:v>8.867259284388735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3">
                  <c:v>3.476559842456826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3">
                  <c:v>1.012768880432528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3">
                  <c:v>0.999340958063375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ollar Shave Club</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3">
                  <c:v>5.5262698774446897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qua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3">
                  <c:v>3.1970156315795722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8.7564890932596187E-2</c:v>
                </c:pt>
                <c:pt idx="5">
                  <c:v>3.051849832999715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5.1541788864924339E-2</c:v>
                </c:pt>
                <c:pt idx="3">
                  <c:v>2.7079975378227327E-2</c:v>
                </c:pt>
                <c:pt idx="4">
                  <c:v>5.1126029728771699E-2</c:v>
                </c:pt>
                <c:pt idx="5">
                  <c:v>1.9605570486302262E-2</c:v>
                </c:pt>
                <c:pt idx="6">
                  <c:v>3.51846731232948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5.4100752629056399E-2</c:v>
                </c:pt>
                <c:pt idx="4">
                  <c:v>6.4517385427454679E-2</c:v>
                </c:pt>
                <c:pt idx="5">
                  <c:v>3.46639434745101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octer &amp; Gamb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2.3011684982193522E-2</c:v>
                </c:pt>
                <c:pt idx="4">
                  <c:v>0.27182399203119151</c:v>
                </c:pt>
                <c:pt idx="5">
                  <c:v>0.2459880612514994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4">
                  <c:v>3.271591279167007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3">
                  <c:v>3.1970156315795722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3">
                  <c:v>0.999340958063375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ollar Shave Club</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3">
                  <c:v>5.5262698774446897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3">
                  <c:v>1.012768880432528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5.438533607878930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0.618391078806394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220640709149983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6.08101627395470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4.527369604727343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2.282473718051405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0.618391078806394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220640709149983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6.08101627395470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7.683429494554869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2.125254377411446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0.618391078806394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220640709149983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6.08101627395470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9.75337777486512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82410000000000005</c:v>
                </c:pt>
                <c:pt idx="3">
                  <c:v>0.11269999999999999</c:v>
                </c:pt>
                <c:pt idx="4">
                  <c:v>5.48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7.135038596769756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0.5162686890540916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26393383034534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9.31742149945811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5.52630210951530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5.475601522029090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0.5162686890540916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26393383034534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9.31742149945811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7.185739184255976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5.070058748621978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0.5162686890540916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26393383034534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9.31742149945811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1261064011879884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154324054360544E-2</c:v>
                </c:pt>
                <c:pt idx="1">
                  <c:v>3.5491110457881898E-2</c:v>
                </c:pt>
                <c:pt idx="2">
                  <c:v>0.75623911846922387</c:v>
                </c:pt>
                <c:pt idx="3">
                  <c:v>1.1700843789652748E-2</c:v>
                </c:pt>
                <c:pt idx="4">
                  <c:v>0.14190534289662096</c:v>
                </c:pt>
                <c:pt idx="5">
                  <c:v>3.5622607384005425E-2</c:v>
                </c:pt>
                <c:pt idx="6">
                  <c:v>3.886652948254563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7.995814453250812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0.3583200173842668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0.3472090977355003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rbaso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9.161654368808980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0.1946224883625910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3.988250585556741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0.3583200173842668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0.3472090977355003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rbaso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9.161654368808980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0.198630052230285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5.3477076885382564E-2</c:v>
                </c:pt>
                <c:pt idx="3">
                  <c:v>7.3128227043476853E-3</c:v>
                </c:pt>
                <c:pt idx="4">
                  <c:v>3.565655694436356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1.2578192382268817E-2</c:v>
                </c:pt>
                <c:pt idx="2">
                  <c:v>0.48819383385048642</c:v>
                </c:pt>
                <c:pt idx="4">
                  <c:v>0.13510829189875098</c:v>
                </c:pt>
                <c:pt idx="5">
                  <c:v>1.775568591903371E-2</c:v>
                </c:pt>
                <c:pt idx="6">
                  <c:v>1.999761407207181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lever</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2.2081372354853844E-3</c:v>
                </c:pt>
                <c:pt idx="1">
                  <c:v>3.4506465450118803E-2</c:v>
                </c:pt>
                <c:pt idx="3">
                  <c:v>4.3263748857304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1">
                  <c:v>8.5969134904768148E-4</c:v>
                </c:pt>
                <c:pt idx="2">
                  <c:v>2.014727709604524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21255348002375032</c:v>
                </c:pt>
                <c:pt idx="4">
                  <c:v>2.822752389516099E-3</c:v>
                </c:pt>
                <c:pt idx="5">
                  <c:v>1.7489252810495737E-2</c:v>
                </c:pt>
                <c:pt idx="6">
                  <c:v>1.886873581484504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2.549119191754086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0.99906986337888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1.683197023562812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1.683197023562812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0.99906986337888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remo</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2.5491191917540861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67820000000000003</c:v>
                </c:pt>
                <c:pt idx="4">
                  <c:v>0.1181</c:v>
                </c:pt>
                <c:pt idx="5">
                  <c:v>0.203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3880168812613493E-3</c:v>
                </c:pt>
                <c:pt idx="1">
                  <c:v>2.2997480136898833E-2</c:v>
                </c:pt>
                <c:pt idx="2">
                  <c:v>0.62120299135886436</c:v>
                </c:pt>
                <c:pt idx="3">
                  <c:v>1.7478546259482607E-2</c:v>
                </c:pt>
                <c:pt idx="4">
                  <c:v>0.20274822308703969</c:v>
                </c:pt>
                <c:pt idx="5">
                  <c:v>0.12612203335215072</c:v>
                </c:pt>
                <c:pt idx="6">
                  <c:v>8.088757831451617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1.4980764035524683E-2</c:v>
                </c:pt>
                <c:pt idx="4">
                  <c:v>2.6098078804017181E-3</c:v>
                </c:pt>
                <c:pt idx="5">
                  <c:v>4.499960663549645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arbaso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6.2883854774057105E-4</c:v>
                </c:pt>
                <c:pt idx="1">
                  <c:v>8.0937359731973865E-4</c:v>
                </c:pt>
                <c:pt idx="4">
                  <c:v>6.3702905974206058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1.549247730888955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5.7913811440698821E-4</c:v>
                </c:pt>
                <c:pt idx="2">
                  <c:v>9.8521823698227186E-3</c:v>
                </c:pt>
                <c:pt idx="3">
                  <c:v>6.7214838092874982E-4</c:v>
                </c:pt>
                <c:pt idx="4">
                  <c:v>7.2220387406914397E-3</c:v>
                </c:pt>
                <c:pt idx="5">
                  <c:v>4.394562207927531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5.8555253341241995E-4</c:v>
                </c:pt>
                <c:pt idx="1">
                  <c:v>2.2172367036872861E-2</c:v>
                </c:pt>
                <c:pt idx="2">
                  <c:v>0.59604252054285967</c:v>
                </c:pt>
                <c:pt idx="3">
                  <c:v>1.6425442207120486E-2</c:v>
                </c:pt>
                <c:pt idx="4">
                  <c:v>0.19202388298675049</c:v>
                </c:pt>
                <c:pt idx="5">
                  <c:v>0.11685543130441046</c:v>
                </c:pt>
                <c:pt idx="6">
                  <c:v>5.965457312771566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18920000000000001</c:v>
                </c:pt>
                <c:pt idx="3">
                  <c:v>0.22750000000000001</c:v>
                </c:pt>
                <c:pt idx="4">
                  <c:v>8.5800000000000001E-2</c:v>
                </c:pt>
                <c:pt idx="5">
                  <c:v>0.49249999999999999</c:v>
                </c:pt>
                <c:pt idx="6">
                  <c:v>5.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3880168812613493E-3</c:v>
                </c:pt>
                <c:pt idx="1">
                  <c:v>2.2997480136898833E-2</c:v>
                </c:pt>
                <c:pt idx="2">
                  <c:v>0.62120299135886436</c:v>
                </c:pt>
                <c:pt idx="3">
                  <c:v>1.7478546259482607E-2</c:v>
                </c:pt>
                <c:pt idx="4">
                  <c:v>0.20274822308703969</c:v>
                </c:pt>
                <c:pt idx="5">
                  <c:v>0.12612203335215072</c:v>
                </c:pt>
                <c:pt idx="6">
                  <c:v>8.088757831451617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3.6529739103983282E-3</c:v>
                </c:pt>
                <c:pt idx="3">
                  <c:v>4.3930917903018275E-3</c:v>
                </c:pt>
                <c:pt idx="4">
                  <c:v>1.6564818266571965E-3</c:v>
                </c:pt>
                <c:pt idx="5">
                  <c:v>9.5097759354200069E-3</c:v>
                </c:pt>
                <c:pt idx="6">
                  <c:v>9.605272890928649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arbaso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6.2883854774057105E-4</c:v>
                </c:pt>
                <c:pt idx="1">
                  <c:v>8.0937359731973865E-4</c:v>
                </c:pt>
                <c:pt idx="4">
                  <c:v>6.3702905974206058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1.549247730888955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5.7913811440698821E-4</c:v>
                </c:pt>
                <c:pt idx="2">
                  <c:v>9.8521823698227186E-3</c:v>
                </c:pt>
                <c:pt idx="3">
                  <c:v>6.7214838092874982E-4</c:v>
                </c:pt>
                <c:pt idx="4">
                  <c:v>7.2220387406914397E-3</c:v>
                </c:pt>
                <c:pt idx="5">
                  <c:v>4.394562207927531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5.8555253341241995E-4</c:v>
                </c:pt>
                <c:pt idx="1">
                  <c:v>2.2172367036872861E-2</c:v>
                </c:pt>
                <c:pt idx="2">
                  <c:v>0.60737031066798608</c:v>
                </c:pt>
                <c:pt idx="3">
                  <c:v>1.2032350416818657E-2</c:v>
                </c:pt>
                <c:pt idx="4">
                  <c:v>0.19297720904049501</c:v>
                </c:pt>
                <c:pt idx="5">
                  <c:v>0.1118456160325401</c:v>
                </c:pt>
                <c:pt idx="6">
                  <c:v>5.004930023678701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7899999999999998</c:v>
                </c:pt>
                <c:pt idx="4">
                  <c:v>2.089999999999999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3880168812613493E-3</c:v>
                </c:pt>
                <c:pt idx="1">
                  <c:v>2.2997480136898833E-2</c:v>
                </c:pt>
                <c:pt idx="2">
                  <c:v>0.62120299135886436</c:v>
                </c:pt>
                <c:pt idx="3">
                  <c:v>1.7478546259482607E-2</c:v>
                </c:pt>
                <c:pt idx="4">
                  <c:v>0.20274822308703969</c:v>
                </c:pt>
                <c:pt idx="5">
                  <c:v>0.12612203335215072</c:v>
                </c:pt>
                <c:pt idx="6">
                  <c:v>8.088757831451617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1.359977511375667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arbaso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6.2883854774057105E-4</c:v>
                </c:pt>
                <c:pt idx="1">
                  <c:v>8.0937359731973865E-4</c:v>
                </c:pt>
                <c:pt idx="4">
                  <c:v>6.3702905974206058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1.549247730888955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5.7913811440698821E-4</c:v>
                </c:pt>
                <c:pt idx="2">
                  <c:v>9.8521823698227186E-3</c:v>
                </c:pt>
                <c:pt idx="3">
                  <c:v>6.7214838092874982E-4</c:v>
                </c:pt>
                <c:pt idx="4">
                  <c:v>7.2220387406914397E-3</c:v>
                </c:pt>
                <c:pt idx="5">
                  <c:v>4.394562207927531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5.8555253341241995E-4</c:v>
                </c:pt>
                <c:pt idx="1">
                  <c:v>2.2172367036872861E-2</c:v>
                </c:pt>
                <c:pt idx="2">
                  <c:v>0.60966330706700866</c:v>
                </c:pt>
                <c:pt idx="3">
                  <c:v>1.6425442207120486E-2</c:v>
                </c:pt>
                <c:pt idx="4">
                  <c:v>0.19463369086715221</c:v>
                </c:pt>
                <c:pt idx="5">
                  <c:v>0.12135539196796011</c:v>
                </c:pt>
                <c:pt idx="6">
                  <c:v>5.965457312771566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67810000000000004</c:v>
                </c:pt>
                <c:pt idx="4">
                  <c:v>0.1182</c:v>
                </c:pt>
                <c:pt idx="5">
                  <c:v>0.203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1709709732985675E-2</c:v>
                </c:pt>
                <c:pt idx="2">
                  <c:v>0.61260410037279456</c:v>
                </c:pt>
                <c:pt idx="3">
                  <c:v>1.2594510440873691E-2</c:v>
                </c:pt>
                <c:pt idx="4">
                  <c:v>0.18972555704452479</c:v>
                </c:pt>
                <c:pt idx="5">
                  <c:v>0.1501308963063640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4.6399226787688236E-2</c:v>
                </c:pt>
                <c:pt idx="4">
                  <c:v>8.0898277274304691E-3</c:v>
                </c:pt>
                <c:pt idx="5">
                  <c:v>1.394038472441326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ollar Shave Club</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1">
                  <c:v>3.170970973298567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17163436102785506</c:v>
                </c:pt>
                <c:pt idx="4">
                  <c:v>1.315698488115587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illet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0.33572569545196673</c:v>
                </c:pt>
                <c:pt idx="4">
                  <c:v>0.16667428954142305</c:v>
                </c:pt>
                <c:pt idx="5">
                  <c:v>0.1014013220279724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5.8838406084904031E-2</c:v>
                </c:pt>
                <c:pt idx="3">
                  <c:v>1.2582702629005833E-2</c:v>
                </c:pt>
                <c:pt idx="4">
                  <c:v>1.3645679141177423E-2</c:v>
                </c:pt>
                <c:pt idx="5">
                  <c:v>3.478887633623196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0.9992999999999999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1709709732985675E-2</c:v>
                </c:pt>
                <c:pt idx="2">
                  <c:v>0.61260410037279456</c:v>
                </c:pt>
                <c:pt idx="3">
                  <c:v>1.2594510440873691E-2</c:v>
                </c:pt>
                <c:pt idx="4">
                  <c:v>0.18972555704452479</c:v>
                </c:pt>
                <c:pt idx="5">
                  <c:v>0.1501308963063640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2.4908268403356655E-6</c:v>
                </c:pt>
                <c:pt idx="3">
                  <c:v>2.1626939631656973E-6</c:v>
                </c:pt>
                <c:pt idx="4">
                  <c:v>4.1165760954050519E-6</c:v>
                </c:pt>
                <c:pt idx="5">
                  <c:v>1.227311671696135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ollar Shave Club</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1">
                  <c:v>3.170970973298567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17163436102785506</c:v>
                </c:pt>
                <c:pt idx="4">
                  <c:v>1.315698488115587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illet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0.33572569545196673</c:v>
                </c:pt>
                <c:pt idx="4">
                  <c:v>0.16667428954142305</c:v>
                </c:pt>
                <c:pt idx="5">
                  <c:v>0.1014013220279724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10523514204575193</c:v>
                </c:pt>
                <c:pt idx="3">
                  <c:v>1.2580539935042667E-2</c:v>
                </c:pt>
                <c:pt idx="4">
                  <c:v>2.173139029251249E-2</c:v>
                </c:pt>
                <c:pt idx="5">
                  <c:v>3.645614434368386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3381458261500728E-3</c:v>
                </c:pt>
                <c:pt idx="1">
                  <c:v>4.5572293753280285E-2</c:v>
                </c:pt>
                <c:pt idx="2">
                  <c:v>0.75073120708919427</c:v>
                </c:pt>
                <c:pt idx="4">
                  <c:v>0.14947182744748397</c:v>
                </c:pt>
                <c:pt idx="5">
                  <c:v>4.48567328021593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1709709732985675E-2</c:v>
                </c:pt>
                <c:pt idx="2">
                  <c:v>0.61260410037279456</c:v>
                </c:pt>
                <c:pt idx="3">
                  <c:v>1.2594510440873691E-2</c:v>
                </c:pt>
                <c:pt idx="4">
                  <c:v>0.18972555704452479</c:v>
                </c:pt>
                <c:pt idx="5">
                  <c:v>0.1501308963063640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3.291669929040793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ollar Shave Club</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1">
                  <c:v>3.170970973298567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17163436102785506</c:v>
                </c:pt>
                <c:pt idx="4">
                  <c:v>1.315698488115587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illet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0.33572569545196673</c:v>
                </c:pt>
                <c:pt idx="4">
                  <c:v>0.16667428954142305</c:v>
                </c:pt>
                <c:pt idx="5">
                  <c:v>0.1014013220279724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10490846587968819</c:v>
                </c:pt>
                <c:pt idx="3">
                  <c:v>1.2582702629005833E-2</c:v>
                </c:pt>
                <c:pt idx="4">
                  <c:v>2.1735506868607892E-2</c:v>
                </c:pt>
                <c:pt idx="5">
                  <c:v>4.87292610606452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4143</c:v>
                </c:pt>
                <c:pt idx="4">
                  <c:v>0.58430000000000004</c:v>
                </c:pt>
                <c:pt idx="5">
                  <c:v>1.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8.1411405788863189E-2</c:v>
                </c:pt>
                <c:pt idx="3">
                  <c:v>3.3837758148706681E-2</c:v>
                </c:pt>
                <c:pt idx="4">
                  <c:v>0.35454814345094271</c:v>
                </c:pt>
                <c:pt idx="5">
                  <c:v>9.1499239139152283E-2</c:v>
                </c:pt>
                <c:pt idx="6">
                  <c:v>3.135449469147948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7.4353297231370824E-2</c:v>
                </c:pt>
                <c:pt idx="4">
                  <c:v>0.1048693650853233</c:v>
                </c:pt>
                <c:pt idx="5">
                  <c:v>2.543447800778447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bg P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3.3187405549057318E-3</c:v>
                </c:pt>
                <c:pt idx="4">
                  <c:v>1.368924751683304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2.0938201724962548E-3</c:v>
                </c:pt>
                <c:pt idx="3">
                  <c:v>3.2681214666113241E-2</c:v>
                </c:pt>
                <c:pt idx="4">
                  <c:v>3.4558944366068642E-2</c:v>
                </c:pt>
                <c:pt idx="5">
                  <c:v>2.8717962248214005E-3</c:v>
                </c:pt>
                <c:pt idx="6">
                  <c:v>2.930314573768340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1.579701076972257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3">
                  <c:v>1.1565204049701614E-3</c:v>
                </c:pt>
                <c:pt idx="4">
                  <c:v>0.20081566642666779</c:v>
                </c:pt>
                <c:pt idx="5">
                  <c:v>8.8373098134253036E-2</c:v>
                </c:pt>
                <c:pt idx="6">
                  <c:v>1.40165511539310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8.1411405788863189E-2</c:v>
                </c:pt>
                <c:pt idx="3">
                  <c:v>3.3837758148706681E-2</c:v>
                </c:pt>
                <c:pt idx="4">
                  <c:v>0.35454814345094271</c:v>
                </c:pt>
                <c:pt idx="5">
                  <c:v>9.1499239139152283E-2</c:v>
                </c:pt>
                <c:pt idx="6">
                  <c:v>3.135449469147948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1.522321713632525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chick</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7.4353297231370824E-2</c:v>
                </c:pt>
                <c:pt idx="4">
                  <c:v>0.1048693650853233</c:v>
                </c:pt>
                <c:pt idx="5">
                  <c:v>2.5434478007784476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 P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3.3187405549057318E-3</c:v>
                </c:pt>
                <c:pt idx="4">
                  <c:v>1.368924751683304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2.0938201724962548E-3</c:v>
                </c:pt>
                <c:pt idx="3">
                  <c:v>3.2681214666113241E-2</c:v>
                </c:pt>
                <c:pt idx="4">
                  <c:v>3.4558944366068642E-2</c:v>
                </c:pt>
                <c:pt idx="5">
                  <c:v>2.8717962248214005E-3</c:v>
                </c:pt>
                <c:pt idx="6">
                  <c:v>2.93031457376834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1.5797010769722571E-3</c:v>
                </c:pt>
                <c:pt idx="3">
                  <c:v>1.1565204049701614E-3</c:v>
                </c:pt>
                <c:pt idx="4">
                  <c:v>0.18559244929034252</c:v>
                </c:pt>
                <c:pt idx="5">
                  <c:v>8.8373098134253036E-2</c:v>
                </c:pt>
                <c:pt idx="6">
                  <c:v>1.40165511539310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47111654978171813</c:v>
                </c:pt>
                <c:pt idx="5">
                  <c:v>0.201839007250102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3.0915548820257512E-2</c:v>
                </c:pt>
                <c:pt idx="3">
                  <c:v>3.5808420754381001E-3</c:v>
                </c:pt>
                <c:pt idx="4">
                  <c:v>3.3699411700648989E-2</c:v>
                </c:pt>
                <c:pt idx="5">
                  <c:v>7.953407740113499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erio Prods In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5.1268140211087755E-4</c:v>
                </c:pt>
                <c:pt idx="1">
                  <c:v>6.5972446419050232E-4</c:v>
                </c:pt>
                <c:pt idx="4">
                  <c:v>5.1924557028277705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3.9481041459182627E-3</c:v>
                </c:pt>
                <c:pt idx="2">
                  <c:v>0.33083004921931469</c:v>
                </c:pt>
                <c:pt idx="4">
                  <c:v>0.19469022126205299</c:v>
                </c:pt>
                <c:pt idx="5">
                  <c:v>0.1011386361559384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lever</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1">
                  <c:v>1.7417160488893704E-2</c:v>
                </c:pt>
                <c:pt idx="3">
                  <c:v>2.18886889326788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1">
                  <c:v>6.5587514226538566E-4</c:v>
                </c:pt>
                <c:pt idx="2">
                  <c:v>0.17303287217636931</c:v>
                </c:pt>
                <c:pt idx="3">
                  <c:v>1.8604622588313417E-2</c:v>
                </c:pt>
                <c:pt idx="4">
                  <c:v>4.538200472753165E-2</c:v>
                </c:pt>
                <c:pt idx="5">
                  <c:v>2.18180686306556E-2</c:v>
                </c:pt>
                <c:pt idx="6">
                  <c:v>9.04795673449134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5.1149787621393404E-2</c:v>
                </c:pt>
                <c:pt idx="4">
                  <c:v>1.09016874823299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9.32980485358831E-3</c:v>
                </c:pt>
                <c:pt idx="2">
                  <c:v>0.47575093012747294</c:v>
                </c:pt>
                <c:pt idx="4">
                  <c:v>0.14838133160228775</c:v>
                </c:pt>
                <c:pt idx="5">
                  <c:v>1.497733381593461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lever</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1">
                  <c:v>4.557229375328028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0.2022409631013909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2.1573852842783351E-2</c:v>
                </c:pt>
                <c:pt idx="5">
                  <c:v>2.98783177490408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0.390961985905749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4">
                  <c:v>2.572736921986978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7.7581826953982094E-2</c:v>
                </c:pt>
                <c:pt idx="5">
                  <c:v>0.2018390072501027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49890000000000001</c:v>
                </c:pt>
                <c:pt idx="4">
                  <c:v>0.501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10228509744003753</c:v>
                </c:pt>
                <c:pt idx="3">
                  <c:v>2.4907314283650128E-2</c:v>
                </c:pt>
                <c:pt idx="4">
                  <c:v>0.40034871094151625</c:v>
                </c:pt>
                <c:pt idx="5">
                  <c:v>3.6145498083168651E-2</c:v>
                </c:pt>
                <c:pt idx="6">
                  <c:v>3.84187095515922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9.6625622113420753E-2</c:v>
                </c:pt>
                <c:pt idx="4">
                  <c:v>9.70627049873845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5.6576536700715385E-3</c:v>
                </c:pt>
                <c:pt idx="3">
                  <c:v>2.4906403455377507E-2</c:v>
                </c:pt>
                <c:pt idx="4">
                  <c:v>4.4800809042201122E-2</c:v>
                </c:pt>
                <c:pt idx="6">
                  <c:v>3.840411605860209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0.19021326760634594</c:v>
                </c:pt>
                <c:pt idx="5">
                  <c:v>3.614492459870070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qua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4.84648485360388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4">
                  <c:v>1.98070807695457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10228509744003753</c:v>
                </c:pt>
                <c:pt idx="3">
                  <c:v>2.4907314283650128E-2</c:v>
                </c:pt>
                <c:pt idx="4">
                  <c:v>0.40034871094151625</c:v>
                </c:pt>
                <c:pt idx="5">
                  <c:v>3.6145498083168651E-2</c:v>
                </c:pt>
                <c:pt idx="6">
                  <c:v>3.84187095515922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4.846484853603887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chick</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9.6625622113420753E-2</c:v>
                </c:pt>
                <c:pt idx="4">
                  <c:v>9.70627049873845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5.6576536700715385E-3</c:v>
                </c:pt>
                <c:pt idx="3">
                  <c:v>2.4906403455377507E-2</c:v>
                </c:pt>
                <c:pt idx="4">
                  <c:v>4.4800809042201122E-2</c:v>
                </c:pt>
                <c:pt idx="6">
                  <c:v>3.840411605860209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illet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0.19021326760634594</c:v>
                </c:pt>
                <c:pt idx="5">
                  <c:v>3.614492459870070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4">
                  <c:v>1.98070807695457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8017622761687492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0.8017622761687492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88180000000000003</c:v>
                </c:pt>
                <c:pt idx="3">
                  <c:v>6.6199999999999995E-2</c:v>
                </c:pt>
                <c:pt idx="4">
                  <c:v>4.44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2.800178269607554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2.800178269607554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997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5824328755423698</c:v>
                </c:pt>
                <c:pt idx="2">
                  <c:v>9.22515453997796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1.1285907104783548E-2</c:v>
                </c:pt>
                <c:pt idx="3">
                  <c:v>2.9462595328826827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0.52780627754319387</c:v>
                </c:pt>
                <c:pt idx="2">
                  <c:v>8.348486350499512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0.1821472963389432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m Brand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2.29186062875258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1.4016743072997219E-2</c:v>
                </c:pt>
                <c:pt idx="2">
                  <c:v>8.76668189478456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3959999999999999</c:v>
                </c:pt>
                <c:pt idx="2">
                  <c:v>0.560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5824328755423698</c:v>
                </c:pt>
                <c:pt idx="2">
                  <c:v>9.22515453997796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5.9767474265289529E-3</c:v>
                </c:pt>
                <c:pt idx="2">
                  <c:v>7.620240317724628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0.52780627754319387</c:v>
                </c:pt>
                <c:pt idx="2">
                  <c:v>8.348486350499512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0.1821472963389432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1.1285907104783548E-2</c:v>
                </c:pt>
                <c:pt idx="3">
                  <c:v>2.9462595328826827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3.0958601933994079E-2</c:v>
                </c:pt>
                <c:pt idx="2">
                  <c:v>1.14644157705993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30008824067172E-3</c:v>
                </c:pt>
                <c:pt idx="1">
                  <c:v>2.3120851848873445E-2</c:v>
                </c:pt>
                <c:pt idx="2">
                  <c:v>0.714833563700214</c:v>
                </c:pt>
                <c:pt idx="3">
                  <c:v>5.7487970266102747E-3</c:v>
                </c:pt>
                <c:pt idx="4">
                  <c:v>0.19710342077219001</c:v>
                </c:pt>
                <c:pt idx="5">
                  <c:v>5.5356640236811465E-2</c:v>
                </c:pt>
                <c:pt idx="6">
                  <c:v>5.3663817462906184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620371060278663E-4</c:v>
                </c:pt>
                <c:pt idx="1">
                  <c:v>6.356642575068922E-4</c:v>
                </c:pt>
                <c:pt idx="2">
                  <c:v>0.9986681320318903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6.962037106027866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ollar Shave Club</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1">
                  <c:v>6.35664257506892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9986681320318903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54700000000000004</c:v>
                </c:pt>
                <c:pt idx="2">
                  <c:v>0.4530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9676701972001525</c:v>
                </c:pt>
                <c:pt idx="2">
                  <c:v>2.45287339369782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2.5421393558102437E-4</c:v>
                </c:pt>
                <c:pt idx="2">
                  <c:v>2.105512367216881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0.99633427386020945</c:v>
                </c:pt>
                <c:pt idx="2">
                  <c:v>1.434077086979977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3.7841005678091419E-5</c:v>
                </c:pt>
                <c:pt idx="3">
                  <c:v>1.649479734686036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8.082450699961577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69640000000000002</c:v>
                </c:pt>
                <c:pt idx="3">
                  <c:v>0.3035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9676701972001525</c:v>
                </c:pt>
                <c:pt idx="2">
                  <c:v>2.45287339369782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3.7841005678091419E-5</c:v>
                </c:pt>
                <c:pt idx="3">
                  <c:v>1.649479734686036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0.99633427386020945</c:v>
                </c:pt>
                <c:pt idx="2">
                  <c:v>1.434077086979977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remo</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2.5421393558102437E-4</c:v>
                </c:pt>
                <c:pt idx="2">
                  <c:v>2.105512367216881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8.082450699961577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3.9235709036372884E-2</c:v>
                </c:pt>
                <c:pt idx="3">
                  <c:v>2.9450016758615703E-3</c:v>
                </c:pt>
                <c:pt idx="4">
                  <c:v>1.973389769579670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bg</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1.0558996926038459E-3</c:v>
                </c:pt>
                <c:pt idx="2">
                  <c:v>1.7116687163396309E-2</c:v>
                </c:pt>
                <c:pt idx="4">
                  <c:v>2.999633050581034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2.2432186746958013E-3</c:v>
                </c:pt>
                <c:pt idx="2">
                  <c:v>0.48862316603839401</c:v>
                </c:pt>
                <c:pt idx="4">
                  <c:v>0.19211820360384071</c:v>
                </c:pt>
                <c:pt idx="5">
                  <c:v>4.848556509449821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lever</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1">
                  <c:v>2.2270998135236048E-2</c:v>
                </c:pt>
                <c:pt idx="3">
                  <c:v>2.803779427454536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1">
                  <c:v>8.0411622249706375E-4</c:v>
                </c:pt>
                <c:pt idx="2">
                  <c:v>0.16981097128893846</c:v>
                </c:pt>
                <c:pt idx="5">
                  <c:v>6.368659021996396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8860000000000003</c:v>
                </c:pt>
                <c:pt idx="4">
                  <c:v>1.1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4.0271017787542725E-2</c:v>
                </c:pt>
                <c:pt idx="2">
                  <c:v>0.73943162895397618</c:v>
                </c:pt>
                <c:pt idx="4">
                  <c:v>0.18228333081187198</c:v>
                </c:pt>
                <c:pt idx="5">
                  <c:v>3.79896844787450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4.5925604888116964E-2</c:v>
                </c:pt>
                <c:pt idx="4">
                  <c:v>5.262786398584626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Unilever</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1">
                  <c:v>4.027101778754272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243414884931539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octer &amp; Gamb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0.41086647707504159</c:v>
                </c:pt>
                <c:pt idx="4">
                  <c:v>0.18175670359487653</c:v>
                </c:pt>
                <c:pt idx="5">
                  <c:v>2.44762021107885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3.9220395891332735E-2</c:v>
                </c:pt>
                <c:pt idx="5">
                  <c:v>1.35134823679564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6">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6">
                  <c:v>0.9487539471059865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6">
                  <c:v>7.193342878734966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6">
                  <c:v>0.830902092753632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6">
                  <c:v>3.985670724532117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versal Beauty Prods In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6">
                  <c:v>3.74637203816987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6">
                  <c:v>3.333784612283234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5">
                  <c:v>6.070024907590473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5">
                  <c:v>0.771888051822068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5">
                  <c:v>5.538012395212210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versal Beauty Prods In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5">
                  <c:v>5.058865865894991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5">
                  <c:v>6.05462815615438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5">
                  <c:v>7.508954215492155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5">
                  <c:v>0.7018646574592526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versal Beauty Prods In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5">
                  <c:v>8.95160262134515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5">
                  <c:v>8.52892438100930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5">
                  <c:v>4.82387205157946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0.1227088402756326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4">
                  <c:v>0.708920721711374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8.924941489722722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6.165661018416251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4">
                  <c:v>1.746441293160276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53765925906680334</c:v>
                </c:pt>
                <c:pt idx="4">
                  <c:v>0.27513448053097156</c:v>
                </c:pt>
                <c:pt idx="5">
                  <c:v>0.1872005831369553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0.354059272225327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4">
                  <c:v>0.6426503193288083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2.329897522173763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9.60510923690487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0.1060588182857829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4">
                  <c:v>0.7020607726065679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0.111039342046613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7.69395019834486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4">
                  <c:v>3.90146187874045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3">
                  <c:v>0.1450623892413836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3">
                  <c:v>0.7314907416644043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lever</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3">
                  <c:v>8.867259284388735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3">
                  <c:v>2.21953876700680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3">
                  <c:v>1.257094483039504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9.741391394088930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0.51485254406685865</c:v>
                </c:pt>
                <c:pt idx="4">
                  <c:v>0.17681526177159468</c:v>
                </c:pt>
                <c:pt idx="5">
                  <c:v>0.1866571110110964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6.0658811017358831E-3</c:v>
                </c:pt>
                <c:pt idx="4">
                  <c:v>6.410351444536763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1.67408338982088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5">
                  <c:v>5.424226168497299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5.778767567204008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0.618391078806394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220640709149983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6.081016273954707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4.19840299478774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5.526313195120228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0.5162686890540916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2639338303453442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9.31742149945811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7.13504050808094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1.198406503880755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0.7055291151197672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erio Prods In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9.161654368808980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lever</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8.531416869793437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0.1053227289922086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4279</c:v>
                </c:pt>
                <c:pt idx="4">
                  <c:v>0.4259</c:v>
                </c:pt>
                <c:pt idx="5">
                  <c:v>0.1461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26929999999999998</c:v>
                </c:pt>
                <c:pt idx="3">
                  <c:v>0.2031</c:v>
                </c:pt>
                <c:pt idx="4">
                  <c:v>7.6600000000000001E-2</c:v>
                </c:pt>
                <c:pt idx="5">
                  <c:v>0.446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3880168812613493E-3</c:v>
                </c:pt>
                <c:pt idx="1">
                  <c:v>2.2997480136898833E-2</c:v>
                </c:pt>
                <c:pt idx="2">
                  <c:v>0.62120299135886459</c:v>
                </c:pt>
                <c:pt idx="3">
                  <c:v>1.7478546259482607E-2</c:v>
                </c:pt>
                <c:pt idx="4">
                  <c:v>0.20274822308703969</c:v>
                </c:pt>
                <c:pt idx="5">
                  <c:v>0.12612203335215072</c:v>
                </c:pt>
                <c:pt idx="6">
                  <c:v>8.0887578314516181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5.8266973678328003E-3</c:v>
                </c:pt>
                <c:pt idx="3">
                  <c:v>4.3930917903018275E-3</c:v>
                </c:pt>
                <c:pt idx="4">
                  <c:v>1.6564905602392066E-3</c:v>
                </c:pt>
                <c:pt idx="5">
                  <c:v>9.661270236891528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bg</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5.7913811440698821E-4</c:v>
                </c:pt>
                <c:pt idx="2">
                  <c:v>2.4884527734661165E-2</c:v>
                </c:pt>
                <c:pt idx="3">
                  <c:v>6.7217061186477557E-4</c:v>
                </c:pt>
                <c:pt idx="4">
                  <c:v>9.8318966406992156E-3</c:v>
                </c:pt>
                <c:pt idx="5">
                  <c:v>8.902318784364208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lever</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5.8555253341241995E-4</c:v>
                </c:pt>
                <c:pt idx="1">
                  <c:v>2.1367715925534592E-2</c:v>
                </c:pt>
                <c:pt idx="3">
                  <c:v>2.247704836680186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octer &amp; Gamb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1.5907663858030587E-3</c:v>
                </c:pt>
                <c:pt idx="2">
                  <c:v>0.40549122746184735</c:v>
                </c:pt>
                <c:pt idx="4">
                  <c:v>0.17483643098547513</c:v>
                </c:pt>
                <c:pt idx="5">
                  <c:v>9.06362550341269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6.2883854774057105E-4</c:v>
                </c:pt>
                <c:pt idx="1">
                  <c:v>1.6140247086580059E-3</c:v>
                </c:pt>
                <c:pt idx="2">
                  <c:v>0.18474696638651747</c:v>
                </c:pt>
                <c:pt idx="3">
                  <c:v>9.7846455801384701E-3</c:v>
                </c:pt>
                <c:pt idx="4">
                  <c:v>1.6167999234360211E-2</c:v>
                </c:pt>
                <c:pt idx="5">
                  <c:v>1.6778055817007021E-2</c:v>
                </c:pt>
                <c:pt idx="6">
                  <c:v>5.004930023678701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0.9731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1709709732985675E-2</c:v>
                </c:pt>
                <c:pt idx="2">
                  <c:v>0.61260410037279456</c:v>
                </c:pt>
                <c:pt idx="3">
                  <c:v>1.2594510440873691E-2</c:v>
                </c:pt>
                <c:pt idx="4">
                  <c:v>0.18972555704452476</c:v>
                </c:pt>
                <c:pt idx="5">
                  <c:v>0.150130896306364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5">
                  <c:v>1.227311671696135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Unilever</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1">
                  <c:v>3.170970973298567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33572569545196673</c:v>
                </c:pt>
                <c:pt idx="4">
                  <c:v>0.16667428954142305</c:v>
                </c:pt>
                <c:pt idx="5">
                  <c:v>0.1014013220279724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5.8506748265159614E-2</c:v>
                </c:pt>
                <c:pt idx="3">
                  <c:v>1.2580539935042667E-2</c:v>
                </c:pt>
                <c:pt idx="4">
                  <c:v>1.3641562565082017E-2</c:v>
                </c:pt>
                <c:pt idx="5">
                  <c:v>7.884496093686231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21803360024481894</c:v>
                </c:pt>
                <c:pt idx="4">
                  <c:v>9.4055262155460576E-3</c:v>
                </c:pt>
                <c:pt idx="5">
                  <c:v>2.85716656509835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41449999999999998</c:v>
                </c:pt>
                <c:pt idx="4">
                  <c:v>0.5840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8.1411405788863189E-2</c:v>
                </c:pt>
                <c:pt idx="3">
                  <c:v>3.3837758148706681E-2</c:v>
                </c:pt>
                <c:pt idx="4">
                  <c:v>0.3545481434509426</c:v>
                </c:pt>
                <c:pt idx="5">
                  <c:v>9.1499239139152283E-2</c:v>
                </c:pt>
                <c:pt idx="6">
                  <c:v>3.13544946914794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7.4417916674523549E-2</c:v>
                </c:pt>
                <c:pt idx="4">
                  <c:v>0.104869365085323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2.0938201724962548E-3</c:v>
                </c:pt>
                <c:pt idx="3">
                  <c:v>3.2681214666113241E-2</c:v>
                </c:pt>
                <c:pt idx="4">
                  <c:v>5.0994137436108443E-2</c:v>
                </c:pt>
                <c:pt idx="5">
                  <c:v>2.8717962248214005E-3</c:v>
                </c:pt>
                <c:pt idx="6">
                  <c:v>2.93031457376834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1.579701076972257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3.3187405549057318E-3</c:v>
                </c:pt>
                <c:pt idx="4">
                  <c:v>2.891246465315830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3">
                  <c:v>1.1565204049701614E-3</c:v>
                </c:pt>
                <c:pt idx="4">
                  <c:v>0.16915725622030273</c:v>
                </c:pt>
                <c:pt idx="5">
                  <c:v>8.8373098134253036E-2</c:v>
                </c:pt>
                <c:pt idx="6">
                  <c:v>1.40165511539310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0922305368754361E-3</c:v>
                </c:pt>
                <c:pt idx="1">
                  <c:v>2.5966747969915147E-2</c:v>
                </c:pt>
                <c:pt idx="2">
                  <c:v>0.53252130685582932</c:v>
                </c:pt>
                <c:pt idx="3">
                  <c:v>1.7828370856645376E-2</c:v>
                </c:pt>
                <c:pt idx="4">
                  <c:v>0.27615415397836063</c:v>
                </c:pt>
                <c:pt idx="5">
                  <c:v>0.13384544939990548</c:v>
                </c:pt>
                <c:pt idx="6">
                  <c:v>1.159174040246854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47111654978171813</c:v>
                </c:pt>
                <c:pt idx="5">
                  <c:v>0.201839007250102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4">
                  <c:v>0.390961985905749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4">
                  <c:v>2.572736921986978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7.7581826953982094E-2</c:v>
                </c:pt>
                <c:pt idx="5">
                  <c:v>0.2018390072501027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49890000000000001</c:v>
                </c:pt>
                <c:pt idx="4">
                  <c:v>0.501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10228509744003753</c:v>
                </c:pt>
                <c:pt idx="3">
                  <c:v>2.4907314283650128E-2</c:v>
                </c:pt>
                <c:pt idx="4">
                  <c:v>0.40034871094151625</c:v>
                </c:pt>
                <c:pt idx="5">
                  <c:v>3.6145498083168651E-2</c:v>
                </c:pt>
                <c:pt idx="6">
                  <c:v>3.84187095515922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9.6625622113420753E-2</c:v>
                </c:pt>
                <c:pt idx="4">
                  <c:v>9.70627049873845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2">
                  <c:v>5.6576536700715385E-3</c:v>
                </c:pt>
                <c:pt idx="3">
                  <c:v>2.4906403455377507E-2</c:v>
                </c:pt>
                <c:pt idx="4">
                  <c:v>6.4607889811746838E-2</c:v>
                </c:pt>
                <c:pt idx="6">
                  <c:v>3.840411605860209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4">
                  <c:v>0.19021326760634594</c:v>
                </c:pt>
                <c:pt idx="5">
                  <c:v>3.614492459870070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4">
                  <c:v>4.84648485360388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8017622761687492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0.8017622761687492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2.800178269607554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2.9428795247600378E-2</c:v>
                </c:pt>
                <c:pt idx="4">
                  <c:v>2.9288583235655086E-2</c:v>
                </c:pt>
                <c:pt idx="5">
                  <c:v>1.00503935149586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2.0902885478890128E-3</c:v>
                </c:pt>
                <c:pt idx="2">
                  <c:v>0.2749240769838307</c:v>
                </c:pt>
                <c:pt idx="4">
                  <c:v>0.19387699870056102</c:v>
                </c:pt>
                <c:pt idx="5">
                  <c:v>9.394139049554436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lever</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1">
                  <c:v>2.596674796991514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4.9617254734180341E-2</c:v>
                </c:pt>
                <c:pt idx="3">
                  <c:v>1.7816621212589159E-2</c:v>
                </c:pt>
                <c:pt idx="4">
                  <c:v>3.0663975561196342E-2</c:v>
                </c:pt>
                <c:pt idx="5">
                  <c:v>6.4565332259129797E-3</c:v>
                </c:pt>
                <c:pt idx="6">
                  <c:v>1.158706456525490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2">
                  <c:v>0.17854599921729294</c:v>
                </c:pt>
                <c:pt idx="4">
                  <c:v>2.2324567982158063E-2</c:v>
                </c:pt>
                <c:pt idx="5">
                  <c:v>2.33968899237731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2">
                  <c:v>2.800178269607554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69369999999999998</c:v>
                </c:pt>
                <c:pt idx="2">
                  <c:v>0.306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5824328755423709</c:v>
                </c:pt>
                <c:pt idx="2">
                  <c:v>9.22515453997796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1.72626545313125E-2</c:v>
                </c:pt>
                <c:pt idx="2">
                  <c:v>7.620240317724628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0.70995357388213709</c:v>
                </c:pt>
                <c:pt idx="2">
                  <c:v>8.348486350499512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versal Beauty Prods In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2.644007966685776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2">
                  <c:v>1.14644157705993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9620371060278663E-4</c:v>
                </c:pt>
                <c:pt idx="1">
                  <c:v>6.356642575068922E-4</c:v>
                </c:pt>
                <c:pt idx="2">
                  <c:v>0.9986681320318903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6.962037106027866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Unilever</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1">
                  <c:v>6.35664257506892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2">
                  <c:v>0.9986681320318903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999999999999995E-4</c:v>
                </c:pt>
                <c:pt idx="2">
                  <c:v>0.39140000000000003</c:v>
                </c:pt>
                <c:pt idx="3">
                  <c:v>4.82E-2</c:v>
                </c:pt>
                <c:pt idx="4">
                  <c:v>0.45340000000000003</c:v>
                </c:pt>
                <c:pt idx="5">
                  <c:v>0.1053</c:v>
                </c:pt>
                <c:pt idx="6">
                  <c:v>1.1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5959478656639862E-3</c:v>
                </c:pt>
                <c:pt idx="1">
                  <c:v>1.8746127234617122E-2</c:v>
                </c:pt>
                <c:pt idx="2">
                  <c:v>0.53498515835298865</c:v>
                </c:pt>
                <c:pt idx="3">
                  <c:v>2.4684841426950318E-2</c:v>
                </c:pt>
                <c:pt idx="4">
                  <c:v>0.274629045673908</c:v>
                </c:pt>
                <c:pt idx="5">
                  <c:v>0.13102759644639816</c:v>
                </c:pt>
                <c:pt idx="6">
                  <c:v>1.033128299947385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B$2:$B$8</c:f>
              <c:numCache>
                <c:formatCode>General</c:formatCode>
                <c:ptCount val="7"/>
                <c:pt idx="0">
                  <c:v>4.4744160823914147E-5</c:v>
                </c:pt>
                <c:pt idx="2">
                  <c:v>2.9095347634191603E-2</c:v>
                </c:pt>
                <c:pt idx="3">
                  <c:v>3.5808420754381001E-3</c:v>
                </c:pt>
                <c:pt idx="4">
                  <c:v>3.3699404581862644E-2</c:v>
                </c:pt>
                <c:pt idx="5">
                  <c:v>7.8299239778593533E-3</c:v>
                </c:pt>
                <c:pt idx="6">
                  <c:v>7.8293059377721833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ev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C$2:$C$8</c:f>
              <c:numCache>
                <c:formatCode>General</c:formatCode>
                <c:ptCount val="7"/>
                <c:pt idx="0">
                  <c:v>1.942964009412091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rbaso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D$2:$D$8</c:f>
              <c:numCache>
                <c:formatCode>General</c:formatCode>
                <c:ptCount val="7"/>
                <c:pt idx="0">
                  <c:v>5.1268140211087755E-4</c:v>
                </c:pt>
                <c:pt idx="1">
                  <c:v>6.5972446419050232E-4</c:v>
                </c:pt>
                <c:pt idx="4">
                  <c:v>5.192455702827770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illet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E$2:$E$8</c:f>
              <c:numCache>
                <c:formatCode>General</c:formatCode>
                <c:ptCount val="7"/>
                <c:pt idx="0">
                  <c:v>2.0051401365061713E-3</c:v>
                </c:pt>
                <c:pt idx="2">
                  <c:v>0.33083004921931469</c:v>
                </c:pt>
                <c:pt idx="4">
                  <c:v>0.19469022126205299</c:v>
                </c:pt>
                <c:pt idx="5">
                  <c:v>0.1011386361559384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REM-BLADES</c:v>
                </c:pt>
                <c:pt idx="1">
                  <c:v>6-BLADE</c:v>
                </c:pt>
                <c:pt idx="2">
                  <c:v>5-BLADE</c:v>
                </c:pt>
                <c:pt idx="3">
                  <c:v>4-BLADE</c:v>
                </c:pt>
                <c:pt idx="4">
                  <c:v>3-BLADE</c:v>
                </c:pt>
                <c:pt idx="5">
                  <c:v>2-BLADE</c:v>
                </c:pt>
                <c:pt idx="6">
                  <c:v>1-BLADE</c:v>
                </c:pt>
              </c:strCache>
            </c:strRef>
          </c:cat>
          <c:val>
            <c:numRef>
              <c:f>Sheet1!$F$2:$F$8</c:f>
              <c:numCache>
                <c:formatCode>General</c:formatCode>
                <c:ptCount val="7"/>
                <c:pt idx="0">
                  <c:v>2.2318042351979392E-5</c:v>
                </c:pt>
                <c:pt idx="1">
                  <c:v>1.8073035631159091E-2</c:v>
                </c:pt>
                <c:pt idx="2">
                  <c:v>0.17479279471548312</c:v>
                </c:pt>
                <c:pt idx="3">
                  <c:v>2.0793473361034247E-2</c:v>
                </c:pt>
                <c:pt idx="4">
                  <c:v>4.5381963956300772E-2</c:v>
                </c:pt>
                <c:pt idx="5">
                  <c:v>2.1755752716484215E-2</c:v>
                </c:pt>
                <c:pt idx="6">
                  <c:v>9.04795673449134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6/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6/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6/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6/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6/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6/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299.xml"/><Relationship Id="rId5" Type="http://schemas.openxmlformats.org/officeDocument/2006/relationships/chart" Target="../charts/chart298.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3.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302.xml"/><Relationship Id="rId5" Type="http://schemas.openxmlformats.org/officeDocument/2006/relationships/chart" Target="../charts/chart3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6.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305.xml"/><Relationship Id="rId5" Type="http://schemas.openxmlformats.org/officeDocument/2006/relationships/chart" Target="../charts/chart304.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9.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308.xml"/><Relationship Id="rId5" Type="http://schemas.openxmlformats.org/officeDocument/2006/relationships/chart" Target="../charts/chart307.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12.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311.xml"/><Relationship Id="rId5" Type="http://schemas.openxmlformats.org/officeDocument/2006/relationships/chart" Target="../charts/chart310.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15.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314.xml"/><Relationship Id="rId5" Type="http://schemas.openxmlformats.org/officeDocument/2006/relationships/chart" Target="../charts/chart313.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18.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317.xml"/><Relationship Id="rId5" Type="http://schemas.openxmlformats.org/officeDocument/2006/relationships/chart" Target="../charts/chart31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1.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320.xml"/><Relationship Id="rId5" Type="http://schemas.openxmlformats.org/officeDocument/2006/relationships/chart" Target="../charts/chart319.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4.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323.xml"/><Relationship Id="rId5" Type="http://schemas.openxmlformats.org/officeDocument/2006/relationships/chart" Target="../charts/chart322.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7.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326.xml"/><Relationship Id="rId5" Type="http://schemas.openxmlformats.org/officeDocument/2006/relationships/chart" Target="../charts/chart325.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281.xml"/><Relationship Id="rId5" Type="http://schemas.openxmlformats.org/officeDocument/2006/relationships/chart" Target="../charts/chart28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287.xml"/><Relationship Id="rId5" Type="http://schemas.openxmlformats.org/officeDocument/2006/relationships/chart" Target="../charts/chart28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290.xml"/><Relationship Id="rId5" Type="http://schemas.openxmlformats.org/officeDocument/2006/relationships/chart" Target="../charts/chart289.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293.xml"/><Relationship Id="rId5" Type="http://schemas.openxmlformats.org/officeDocument/2006/relationships/chart" Target="../charts/chart292.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296.xml"/><Relationship Id="rId5" Type="http://schemas.openxmlformats.org/officeDocument/2006/relationships/chart" Target="../charts/chart29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Manual Shave M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973707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azor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599826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ensitive Ski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63752485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ensitive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78867678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ensitive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62462899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Dry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83358448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Dry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44827463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Typ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75727701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Typ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57003689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Typ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20310691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Typ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11316712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Typ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9857085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fill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3214299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fill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563838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1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5018389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2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163856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2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3630087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3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2155903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3 Blade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3815390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3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782806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4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8571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Manual Shave Me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368060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5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4902115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5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7375679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Blad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9921704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Blad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5056688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Normal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9747033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Normal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4666616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ensitive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2645005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ensitive Ski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9341995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ensitive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9610994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Dry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2823028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Manual Shave Me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3010994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Dry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760062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Typ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057142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Typ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9133832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Manual Shave M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408118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Manual Shave M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4131598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Manual Shave M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8480270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Manual Shave Me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167042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Manual Shave Me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4259939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Manual Shave Me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1895162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Manual Shave Me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9993473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ystem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4673378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Manual Shave Me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8648882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ystem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9183075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ystem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2951899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ystem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7379419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ystem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6101149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ystem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6739630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ystem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9361468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ystem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1194164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Disposabl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7350128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Disposabl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8520864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ystem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7737838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Disposabl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5499867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Disposabl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3556028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Disposabl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0861409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azor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846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azor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23740032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azor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93027934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azor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6891693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azor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9843456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azor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6697556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azor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1623670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Disposabl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8129254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fill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0680747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fill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66900884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fill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04960858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fill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0114801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fill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8957723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fill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05502373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1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6729745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1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9885702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2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59859234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2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652907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Disposabl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66303224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2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7505686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2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78850699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3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46019423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3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1353733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3 Blade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5423033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3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74307796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3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46426281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4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07016032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4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58603611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4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871213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Disposabl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6827144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4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75978303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5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97144833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5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88601290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5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73445952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5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8785202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5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60933319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5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01690675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Blad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86447683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Blad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37390920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Blad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6916803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azor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00076914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Blad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72853883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Rem Blad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9387759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Normal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64842225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Normal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5342290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Normal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53368238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Normal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83936375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Normal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30997272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Normal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20766041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ensitive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7664046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ortion Count Bracket | Sensitive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ortion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REM-BLADES</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6-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5-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4-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BLADE</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345547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7422</Words>
  <Application>Microsoft Office PowerPoint</Application>
  <PresentationFormat>On-screen Show (16:9)</PresentationFormat>
  <Paragraphs>2754</Paragraphs>
  <Slides>10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9</vt:i4>
      </vt:variant>
    </vt:vector>
  </HeadingPairs>
  <TitlesOfParts>
    <vt:vector size="118"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lpstr>Brand Share Topline By Portion Count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Yomna ABDULLATIF</cp:lastModifiedBy>
  <cp:revision>77</cp:revision>
  <dcterms:created xsi:type="dcterms:W3CDTF">2024-07-05T11:30:58Z</dcterms:created>
  <dcterms:modified xsi:type="dcterms:W3CDTF">2025-08-06T10:0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